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DA95"/>
    <a:srgbClr val="D417E3"/>
    <a:srgbClr val="FDE6B8"/>
    <a:srgbClr val="002C46"/>
    <a:srgbClr val="FFFFFF"/>
    <a:srgbClr val="FBC14E"/>
    <a:srgbClr val="EBEEF2"/>
    <a:srgbClr val="AABFD6"/>
    <a:srgbClr val="8497B0"/>
    <a:srgbClr val="657E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456970-3734-4ED1-A29F-0228E4147688}" v="97" dt="2024-03-20T22:41:32.1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79" d="100"/>
          <a:sy n="79" d="100"/>
        </p:scale>
        <p:origin x="90" y="64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9a2f7a990ae12e69/Unit%209/1679498136_Statistics_Case_Study_Student_Reference_22032023.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d.docs.live.net/9a2f7a990ae12e69/Unit%209/1679498136_Statistics_Case_Study_Student_Reference_22032023.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 Coefficient</a:t>
            </a:r>
            <a:r>
              <a:rPr lang="en-US" baseline="0"/>
              <a:t> Pump Failure (Rolling Stdev)</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9997594050743651E-2"/>
          <c:y val="0.25083333333333335"/>
          <c:w val="0.88389129483814521"/>
          <c:h val="0.60515383493729946"/>
        </c:manualLayout>
      </c:layout>
      <c:barChart>
        <c:barDir val="col"/>
        <c:grouping val="clustered"/>
        <c:varyColors val="0"/>
        <c:ser>
          <c:idx val="0"/>
          <c:order val="0"/>
          <c:spPr>
            <a:solidFill>
              <a:schemeClr val="accent1"/>
            </a:solidFill>
            <a:ln>
              <a:noFill/>
            </a:ln>
            <a:effectLst/>
          </c:spPr>
          <c:invertIfNegative val="0"/>
          <c:cat>
            <c:strRef>
              <c:f>'[1679498136_Statistics_Case_Study_Student_Reference_22032023.xlsx]Inferential Statistics'!$W$38:$W$44</c:f>
              <c:strCache>
                <c:ptCount val="7"/>
                <c:pt idx="0">
                  <c:v>Horse Power</c:v>
                </c:pt>
                <c:pt idx="1">
                  <c:v>Pump Efficiency</c:v>
                </c:pt>
                <c:pt idx="2">
                  <c:v>Volumetric Flow Meter 1</c:v>
                </c:pt>
                <c:pt idx="3">
                  <c:v>Volumetric Flow Meter 2</c:v>
                </c:pt>
                <c:pt idx="4">
                  <c:v>Pump Speed (RPM)</c:v>
                </c:pt>
                <c:pt idx="5">
                  <c:v>Ambient Temperature</c:v>
                </c:pt>
                <c:pt idx="6">
                  <c:v>Pump Torque </c:v>
                </c:pt>
              </c:strCache>
            </c:strRef>
          </c:cat>
          <c:val>
            <c:numRef>
              <c:f>'[1679498136_Statistics_Case_Study_Student_Reference_22032023.xlsx]Inferential Statistics'!$X$38:$X$44</c:f>
              <c:numCache>
                <c:formatCode>General</c:formatCode>
                <c:ptCount val="7"/>
                <c:pt idx="0">
                  <c:v>0.69010189460739213</c:v>
                </c:pt>
                <c:pt idx="1">
                  <c:v>0.69010189460739213</c:v>
                </c:pt>
                <c:pt idx="2">
                  <c:v>0.6448804160271028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FF7B-4F27-9841-58610340B1F0}"/>
            </c:ext>
          </c:extLst>
        </c:ser>
        <c:dLbls>
          <c:showLegendKey val="0"/>
          <c:showVal val="0"/>
          <c:showCatName val="0"/>
          <c:showSerName val="0"/>
          <c:showPercent val="0"/>
          <c:showBubbleSize val="0"/>
        </c:dLbls>
        <c:gapWidth val="219"/>
        <c:overlap val="-27"/>
        <c:axId val="163993152"/>
        <c:axId val="1972329008"/>
      </c:barChart>
      <c:catAx>
        <c:axId val="163993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972329008"/>
        <c:crosses val="autoZero"/>
        <c:auto val="1"/>
        <c:lblAlgn val="ctr"/>
        <c:lblOffset val="100"/>
        <c:noMultiLvlLbl val="0"/>
      </c:catAx>
      <c:valAx>
        <c:axId val="197232900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3993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tatistical Alarm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1679498136_Statistics_Case_Study_Student_Reference_22032023.xlsx]Data Preparation'!$H$1</c:f>
              <c:strCache>
                <c:ptCount val="1"/>
                <c:pt idx="0">
                  <c:v>Horse Power</c:v>
                </c:pt>
              </c:strCache>
            </c:strRef>
          </c:tx>
          <c:spPr>
            <a:ln w="28575" cap="rnd">
              <a:solidFill>
                <a:schemeClr val="accent1"/>
              </a:solidFill>
              <a:round/>
            </a:ln>
            <a:effectLst/>
          </c:spPr>
          <c:marker>
            <c:symbol val="none"/>
          </c:marker>
          <c:cat>
            <c:strRef>
              <c:f>'[1679498136_Statistics_Case_Study_Student_Reference_22032023.xlsx]Data Preparation'!$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9/2014 0:00</c:v>
                </c:pt>
                <c:pt idx="2423">
                  <c:v>12/9/2014 0:01</c:v>
                </c:pt>
                <c:pt idx="2424">
                  <c:v>12/9/2014 0:02</c:v>
                </c:pt>
                <c:pt idx="2425">
                  <c:v>12/9/2014 0:03</c:v>
                </c:pt>
                <c:pt idx="2426">
                  <c:v>12/9/2014 0:04</c:v>
                </c:pt>
                <c:pt idx="2427">
                  <c:v>12/9/2014 0:05</c:v>
                </c:pt>
                <c:pt idx="2428">
                  <c:v>12/9/2014 0:06</c:v>
                </c:pt>
                <c:pt idx="2429">
                  <c:v>12/9/2014 0:07</c:v>
                </c:pt>
                <c:pt idx="2430">
                  <c:v>12/9/2014 0:08</c:v>
                </c:pt>
                <c:pt idx="2431">
                  <c:v>12/9/2014 0:09</c:v>
                </c:pt>
                <c:pt idx="2432">
                  <c:v>12/9/2014 0:10</c:v>
                </c:pt>
                <c:pt idx="2433">
                  <c:v>12/9/2014 0:11</c:v>
                </c:pt>
                <c:pt idx="2434">
                  <c:v>12/9/2014 0:12</c:v>
                </c:pt>
                <c:pt idx="2435">
                  <c:v>12/9/2014 0:13</c:v>
                </c:pt>
                <c:pt idx="2436">
                  <c:v>12/9/2014 0:14</c:v>
                </c:pt>
                <c:pt idx="2437">
                  <c:v>12/9/2014 0:15</c:v>
                </c:pt>
                <c:pt idx="2438">
                  <c:v>12/9/2014 0:16</c:v>
                </c:pt>
                <c:pt idx="2439">
                  <c:v>12/9/2014 0:17</c:v>
                </c:pt>
                <c:pt idx="2440">
                  <c:v>12/9/2014 0:18</c:v>
                </c:pt>
                <c:pt idx="2441">
                  <c:v>12/9/2014 0:19</c:v>
                </c:pt>
                <c:pt idx="2442">
                  <c:v>12/9/2014 0:20</c:v>
                </c:pt>
                <c:pt idx="2443">
                  <c:v>12/9/2014 0:21</c:v>
                </c:pt>
                <c:pt idx="2444">
                  <c:v>12/9/2014 0:22</c:v>
                </c:pt>
                <c:pt idx="2445">
                  <c:v>12/9/2014 0:23</c:v>
                </c:pt>
                <c:pt idx="2446">
                  <c:v>12/9/2014 0:24</c:v>
                </c:pt>
                <c:pt idx="2447">
                  <c:v>12/9/2014 0:25</c:v>
                </c:pt>
                <c:pt idx="2448">
                  <c:v>12/9/2014 0:26</c:v>
                </c:pt>
                <c:pt idx="2449">
                  <c:v>12/9/2014 0:27</c:v>
                </c:pt>
                <c:pt idx="2450">
                  <c:v>12/9/2014 0:28</c:v>
                </c:pt>
                <c:pt idx="2451">
                  <c:v>12/9/2014 0:29</c:v>
                </c:pt>
                <c:pt idx="2452">
                  <c:v>12/9/2014 0:30</c:v>
                </c:pt>
              </c:strCache>
            </c:strRef>
          </c:cat>
          <c:val>
            <c:numRef>
              <c:f>'[1679498136_Statistics_Case_Study_Student_Reference_22032023.xlsx]Data Preparation'!$H$2:$H$2455</c:f>
              <c:numCache>
                <c:formatCode>#,##0.00</c:formatCode>
                <c:ptCount val="2454"/>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0-9699-4DB3-85DA-6C7F2FAB5FEA}"/>
            </c:ext>
          </c:extLst>
        </c:ser>
        <c:ser>
          <c:idx val="2"/>
          <c:order val="2"/>
          <c:tx>
            <c:strRef>
              <c:f>'[1679498136_Statistics_Case_Study_Student_Reference_22032023.xlsx]Data Preparation'!$J$1</c:f>
              <c:strCache>
                <c:ptCount val="1"/>
                <c:pt idx="0">
                  <c:v>PUMP FAILURE (1 or 0)</c:v>
                </c:pt>
              </c:strCache>
            </c:strRef>
          </c:tx>
          <c:spPr>
            <a:ln w="28575" cap="rnd">
              <a:solidFill>
                <a:schemeClr val="accent3"/>
              </a:solidFill>
              <a:round/>
            </a:ln>
            <a:effectLst/>
          </c:spPr>
          <c:marker>
            <c:symbol val="none"/>
          </c:marker>
          <c:cat>
            <c:strRef>
              <c:f>'[1679498136_Statistics_Case_Study_Student_Reference_22032023.xlsx]Data Preparation'!$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9/2014 0:00</c:v>
                </c:pt>
                <c:pt idx="2423">
                  <c:v>12/9/2014 0:01</c:v>
                </c:pt>
                <c:pt idx="2424">
                  <c:v>12/9/2014 0:02</c:v>
                </c:pt>
                <c:pt idx="2425">
                  <c:v>12/9/2014 0:03</c:v>
                </c:pt>
                <c:pt idx="2426">
                  <c:v>12/9/2014 0:04</c:v>
                </c:pt>
                <c:pt idx="2427">
                  <c:v>12/9/2014 0:05</c:v>
                </c:pt>
                <c:pt idx="2428">
                  <c:v>12/9/2014 0:06</c:v>
                </c:pt>
                <c:pt idx="2429">
                  <c:v>12/9/2014 0:07</c:v>
                </c:pt>
                <c:pt idx="2430">
                  <c:v>12/9/2014 0:08</c:v>
                </c:pt>
                <c:pt idx="2431">
                  <c:v>12/9/2014 0:09</c:v>
                </c:pt>
                <c:pt idx="2432">
                  <c:v>12/9/2014 0:10</c:v>
                </c:pt>
                <c:pt idx="2433">
                  <c:v>12/9/2014 0:11</c:v>
                </c:pt>
                <c:pt idx="2434">
                  <c:v>12/9/2014 0:12</c:v>
                </c:pt>
                <c:pt idx="2435">
                  <c:v>12/9/2014 0:13</c:v>
                </c:pt>
                <c:pt idx="2436">
                  <c:v>12/9/2014 0:14</c:v>
                </c:pt>
                <c:pt idx="2437">
                  <c:v>12/9/2014 0:15</c:v>
                </c:pt>
                <c:pt idx="2438">
                  <c:v>12/9/2014 0:16</c:v>
                </c:pt>
                <c:pt idx="2439">
                  <c:v>12/9/2014 0:17</c:v>
                </c:pt>
                <c:pt idx="2440">
                  <c:v>12/9/2014 0:18</c:v>
                </c:pt>
                <c:pt idx="2441">
                  <c:v>12/9/2014 0:19</c:v>
                </c:pt>
                <c:pt idx="2442">
                  <c:v>12/9/2014 0:20</c:v>
                </c:pt>
                <c:pt idx="2443">
                  <c:v>12/9/2014 0:21</c:v>
                </c:pt>
                <c:pt idx="2444">
                  <c:v>12/9/2014 0:22</c:v>
                </c:pt>
                <c:pt idx="2445">
                  <c:v>12/9/2014 0:23</c:v>
                </c:pt>
                <c:pt idx="2446">
                  <c:v>12/9/2014 0:24</c:v>
                </c:pt>
                <c:pt idx="2447">
                  <c:v>12/9/2014 0:25</c:v>
                </c:pt>
                <c:pt idx="2448">
                  <c:v>12/9/2014 0:26</c:v>
                </c:pt>
                <c:pt idx="2449">
                  <c:v>12/9/2014 0:27</c:v>
                </c:pt>
                <c:pt idx="2450">
                  <c:v>12/9/2014 0:28</c:v>
                </c:pt>
                <c:pt idx="2451">
                  <c:v>12/9/2014 0:29</c:v>
                </c:pt>
                <c:pt idx="2452">
                  <c:v>12/9/2014 0:30</c:v>
                </c:pt>
              </c:strCache>
            </c:strRef>
          </c:cat>
          <c:val>
            <c:numRef>
              <c:f>'[1679498136_Statistics_Case_Study_Student_Reference_22032023.xlsx]Data Preparation'!$J$2:$J$2455</c:f>
              <c:numCache>
                <c:formatCode>#,##0.00</c:formatCode>
                <c:ptCount val="2454"/>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1-9699-4DB3-85DA-6C7F2FAB5FEA}"/>
            </c:ext>
          </c:extLst>
        </c:ser>
        <c:ser>
          <c:idx val="3"/>
          <c:order val="3"/>
          <c:tx>
            <c:strRef>
              <c:f>'[1679498136_Statistics_Case_Study_Student_Reference_22032023.xlsx]Data Preparation'!$K$1</c:f>
              <c:strCache>
                <c:ptCount val="1"/>
                <c:pt idx="0">
                  <c:v>Regressive Equation</c:v>
                </c:pt>
              </c:strCache>
            </c:strRef>
          </c:tx>
          <c:spPr>
            <a:ln w="28575" cap="rnd">
              <a:solidFill>
                <a:schemeClr val="accent4"/>
              </a:solidFill>
              <a:round/>
            </a:ln>
            <a:effectLst/>
          </c:spPr>
          <c:marker>
            <c:symbol val="none"/>
          </c:marker>
          <c:val>
            <c:numRef>
              <c:f>'[1679498136_Statistics_Case_Study_Student_Reference_22032023.xlsx]Data Preparation'!$K$2:$K$2455</c:f>
              <c:numCache>
                <c:formatCode>0.00</c:formatCode>
                <c:ptCount val="2454"/>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2-9699-4DB3-85DA-6C7F2FAB5FEA}"/>
            </c:ext>
          </c:extLst>
        </c:ser>
        <c:dLbls>
          <c:showLegendKey val="0"/>
          <c:showVal val="0"/>
          <c:showCatName val="0"/>
          <c:showSerName val="0"/>
          <c:showPercent val="0"/>
          <c:showBubbleSize val="0"/>
        </c:dLbls>
        <c:marker val="1"/>
        <c:smooth val="0"/>
        <c:axId val="163971072"/>
        <c:axId val="163973472"/>
      </c:lineChart>
      <c:lineChart>
        <c:grouping val="standard"/>
        <c:varyColors val="0"/>
        <c:ser>
          <c:idx val="1"/>
          <c:order val="1"/>
          <c:tx>
            <c:strRef>
              <c:f>'[1679498136_Statistics_Case_Study_Student_Reference_22032023.xlsx]Data Preparation'!$I$1</c:f>
              <c:strCache>
                <c:ptCount val="1"/>
                <c:pt idx="0">
                  <c:v>Pump Efficiency</c:v>
                </c:pt>
              </c:strCache>
            </c:strRef>
          </c:tx>
          <c:spPr>
            <a:ln w="28575" cap="rnd">
              <a:solidFill>
                <a:schemeClr val="accent2"/>
              </a:solidFill>
              <a:round/>
            </a:ln>
            <a:effectLst/>
          </c:spPr>
          <c:marker>
            <c:symbol val="none"/>
          </c:marker>
          <c:cat>
            <c:strRef>
              <c:f>'[1679498136_Statistics_Case_Study_Student_Reference_22032023.xlsx]Data Preparation'!$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9/2014 0:00</c:v>
                </c:pt>
                <c:pt idx="2423">
                  <c:v>12/9/2014 0:01</c:v>
                </c:pt>
                <c:pt idx="2424">
                  <c:v>12/9/2014 0:02</c:v>
                </c:pt>
                <c:pt idx="2425">
                  <c:v>12/9/2014 0:03</c:v>
                </c:pt>
                <c:pt idx="2426">
                  <c:v>12/9/2014 0:04</c:v>
                </c:pt>
                <c:pt idx="2427">
                  <c:v>12/9/2014 0:05</c:v>
                </c:pt>
                <c:pt idx="2428">
                  <c:v>12/9/2014 0:06</c:v>
                </c:pt>
                <c:pt idx="2429">
                  <c:v>12/9/2014 0:07</c:v>
                </c:pt>
                <c:pt idx="2430">
                  <c:v>12/9/2014 0:08</c:v>
                </c:pt>
                <c:pt idx="2431">
                  <c:v>12/9/2014 0:09</c:v>
                </c:pt>
                <c:pt idx="2432">
                  <c:v>12/9/2014 0:10</c:v>
                </c:pt>
                <c:pt idx="2433">
                  <c:v>12/9/2014 0:11</c:v>
                </c:pt>
                <c:pt idx="2434">
                  <c:v>12/9/2014 0:12</c:v>
                </c:pt>
                <c:pt idx="2435">
                  <c:v>12/9/2014 0:13</c:v>
                </c:pt>
                <c:pt idx="2436">
                  <c:v>12/9/2014 0:14</c:v>
                </c:pt>
                <c:pt idx="2437">
                  <c:v>12/9/2014 0:15</c:v>
                </c:pt>
                <c:pt idx="2438">
                  <c:v>12/9/2014 0:16</c:v>
                </c:pt>
                <c:pt idx="2439">
                  <c:v>12/9/2014 0:17</c:v>
                </c:pt>
                <c:pt idx="2440">
                  <c:v>12/9/2014 0:18</c:v>
                </c:pt>
                <c:pt idx="2441">
                  <c:v>12/9/2014 0:19</c:v>
                </c:pt>
                <c:pt idx="2442">
                  <c:v>12/9/2014 0:20</c:v>
                </c:pt>
                <c:pt idx="2443">
                  <c:v>12/9/2014 0:21</c:v>
                </c:pt>
                <c:pt idx="2444">
                  <c:v>12/9/2014 0:22</c:v>
                </c:pt>
                <c:pt idx="2445">
                  <c:v>12/9/2014 0:23</c:v>
                </c:pt>
                <c:pt idx="2446">
                  <c:v>12/9/2014 0:24</c:v>
                </c:pt>
                <c:pt idx="2447">
                  <c:v>12/9/2014 0:25</c:v>
                </c:pt>
                <c:pt idx="2448">
                  <c:v>12/9/2014 0:26</c:v>
                </c:pt>
                <c:pt idx="2449">
                  <c:v>12/9/2014 0:27</c:v>
                </c:pt>
                <c:pt idx="2450">
                  <c:v>12/9/2014 0:28</c:v>
                </c:pt>
                <c:pt idx="2451">
                  <c:v>12/9/2014 0:29</c:v>
                </c:pt>
                <c:pt idx="2452">
                  <c:v>12/9/2014 0:30</c:v>
                </c:pt>
              </c:strCache>
            </c:strRef>
          </c:cat>
          <c:val>
            <c:numRef>
              <c:f>'[1679498136_Statistics_Case_Study_Student_Reference_22032023.xlsx]Data Preparation'!$I$2:$I$2455</c:f>
              <c:numCache>
                <c:formatCode>#,##0.00</c:formatCode>
                <c:ptCount val="2454"/>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3-9699-4DB3-85DA-6C7F2FAB5FEA}"/>
            </c:ext>
          </c:extLst>
        </c:ser>
        <c:dLbls>
          <c:showLegendKey val="0"/>
          <c:showVal val="0"/>
          <c:showCatName val="0"/>
          <c:showSerName val="0"/>
          <c:showPercent val="0"/>
          <c:showBubbleSize val="0"/>
        </c:dLbls>
        <c:marker val="1"/>
        <c:smooth val="0"/>
        <c:axId val="1982328592"/>
        <c:axId val="1982339152"/>
      </c:lineChart>
      <c:catAx>
        <c:axId val="1639710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0"/>
          <a:lstStyle/>
          <a:p>
            <a:pPr>
              <a:defRPr sz="900" b="0" i="0" u="none" strike="noStrike" kern="1200" baseline="0">
                <a:solidFill>
                  <a:schemeClr val="tx1">
                    <a:lumMod val="65000"/>
                    <a:lumOff val="35000"/>
                  </a:schemeClr>
                </a:solidFill>
                <a:latin typeface="+mn-lt"/>
                <a:ea typeface="+mn-ea"/>
                <a:cs typeface="+mn-cs"/>
              </a:defRPr>
            </a:pPr>
            <a:endParaRPr lang="en-US"/>
          </a:p>
        </c:txPr>
        <c:crossAx val="163973472"/>
        <c:crosses val="autoZero"/>
        <c:auto val="1"/>
        <c:lblAlgn val="ctr"/>
        <c:lblOffset val="100"/>
        <c:noMultiLvlLbl val="0"/>
      </c:catAx>
      <c:valAx>
        <c:axId val="16397347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Horse</a:t>
                </a:r>
                <a:r>
                  <a:rPr lang="en-US" baseline="0"/>
                  <a:t> power, Pump Failure, Regressive Equation</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0"/>
          <a:lstStyle/>
          <a:p>
            <a:pPr>
              <a:defRPr sz="900" b="0" i="0" u="none" strike="noStrike" kern="1200" baseline="0">
                <a:solidFill>
                  <a:schemeClr val="tx1">
                    <a:lumMod val="65000"/>
                    <a:lumOff val="35000"/>
                  </a:schemeClr>
                </a:solidFill>
                <a:latin typeface="+mn-lt"/>
                <a:ea typeface="+mn-ea"/>
                <a:cs typeface="+mn-cs"/>
              </a:defRPr>
            </a:pPr>
            <a:endParaRPr lang="en-US"/>
          </a:p>
        </c:txPr>
        <c:crossAx val="163971072"/>
        <c:crosses val="autoZero"/>
        <c:crossBetween val="between"/>
      </c:valAx>
      <c:valAx>
        <c:axId val="1982339152"/>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ump Efficiency</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82328592"/>
        <c:crosses val="max"/>
        <c:crossBetween val="between"/>
      </c:valAx>
      <c:catAx>
        <c:axId val="1982328592"/>
        <c:scaling>
          <c:orientation val="minMax"/>
        </c:scaling>
        <c:delete val="1"/>
        <c:axPos val="b"/>
        <c:numFmt formatCode="General" sourceLinked="1"/>
        <c:majorTickMark val="out"/>
        <c:minorTickMark val="none"/>
        <c:tickLblPos val="nextTo"/>
        <c:crossAx val="1982339152"/>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ll Variables.</a:t>
            </a:r>
            <a:r>
              <a:rPr lang="en-US" baseline="0"/>
              <a:t> Rolling Mean Plot</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2363063296991225E-2"/>
          <c:y val="5.6868466782685652E-2"/>
          <c:w val="0.90723683680507572"/>
          <c:h val="0.49624008298449246"/>
        </c:manualLayout>
      </c:layout>
      <c:lineChart>
        <c:grouping val="standard"/>
        <c:varyColors val="0"/>
        <c:ser>
          <c:idx val="0"/>
          <c:order val="0"/>
          <c:tx>
            <c:strRef>
              <c:f>'[1679498136_Statistics_Case_Study_Student_Reference_22032023.xlsx]DRT Rolling Mean'!$C$1</c:f>
              <c:strCache>
                <c:ptCount val="1"/>
                <c:pt idx="0">
                  <c:v>Volumetric Flow Meter 1</c:v>
                </c:pt>
              </c:strCache>
            </c:strRef>
          </c:tx>
          <c:spPr>
            <a:ln w="28575" cap="rnd">
              <a:solidFill>
                <a:schemeClr val="accent1"/>
              </a:solidFill>
              <a:round/>
            </a:ln>
            <a:effectLst/>
          </c:spPr>
          <c:marker>
            <c:symbol val="none"/>
          </c:marker>
          <c:cat>
            <c:strRef>
              <c:f>'[1679498136_Statistics_Case_Study_Student_Reference_22032023.xlsx]DRT Rolling Mean'!$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10/2014 16:21</c:v>
                </c:pt>
                <c:pt idx="2423">
                  <c:v>12/10/2014 16:22</c:v>
                </c:pt>
                <c:pt idx="2424">
                  <c:v>12/10/2014 16:23</c:v>
                </c:pt>
                <c:pt idx="2425">
                  <c:v>12/10/2014 16:24</c:v>
                </c:pt>
                <c:pt idx="2426">
                  <c:v>12/10/2014 16:25</c:v>
                </c:pt>
                <c:pt idx="2427">
                  <c:v>12/10/2014 16:26</c:v>
                </c:pt>
                <c:pt idx="2428">
                  <c:v>12/10/2014 16:27</c:v>
                </c:pt>
                <c:pt idx="2429">
                  <c:v>12/10/2014 16:28</c:v>
                </c:pt>
                <c:pt idx="2430">
                  <c:v>12/10/2014 16:29</c:v>
                </c:pt>
                <c:pt idx="2431">
                  <c:v>12/10/2014 16:30</c:v>
                </c:pt>
                <c:pt idx="2432">
                  <c:v>12/10/2014 16:31</c:v>
                </c:pt>
                <c:pt idx="2433">
                  <c:v>12/10/2014 16:32</c:v>
                </c:pt>
                <c:pt idx="2434">
                  <c:v>12/10/2014 16:33</c:v>
                </c:pt>
                <c:pt idx="2435">
                  <c:v>12/10/2014 16:34</c:v>
                </c:pt>
                <c:pt idx="2436">
                  <c:v>12/10/2014 16:35</c:v>
                </c:pt>
                <c:pt idx="2437">
                  <c:v>12/10/2014 16:36</c:v>
                </c:pt>
                <c:pt idx="2438">
                  <c:v>12/10/2014 16:37</c:v>
                </c:pt>
                <c:pt idx="2439">
                  <c:v>12/10/2014 16:38</c:v>
                </c:pt>
                <c:pt idx="2440">
                  <c:v>12/10/2014 16:39</c:v>
                </c:pt>
                <c:pt idx="2441">
                  <c:v>12/10/2014 16:40</c:v>
                </c:pt>
                <c:pt idx="2442">
                  <c:v>12/10/2014 16:41</c:v>
                </c:pt>
                <c:pt idx="2443">
                  <c:v>12/10/2014 16:42</c:v>
                </c:pt>
                <c:pt idx="2444">
                  <c:v>12/10/2014 16:43</c:v>
                </c:pt>
                <c:pt idx="2445">
                  <c:v>12/10/2014 16:44</c:v>
                </c:pt>
                <c:pt idx="2446">
                  <c:v>12/10/2014 16:45</c:v>
                </c:pt>
                <c:pt idx="2447">
                  <c:v>12/10/2014 16:46</c:v>
                </c:pt>
                <c:pt idx="2448">
                  <c:v>12/10/2014 16:47</c:v>
                </c:pt>
                <c:pt idx="2449">
                  <c:v>12/10/2014 16:48</c:v>
                </c:pt>
                <c:pt idx="2450">
                  <c:v>12/10/2014 16:49</c:v>
                </c:pt>
                <c:pt idx="2451">
                  <c:v>12/10/2014 16:50</c:v>
                </c:pt>
                <c:pt idx="2452">
                  <c:v>12/10/2014 16:51</c:v>
                </c:pt>
              </c:strCache>
            </c:strRef>
          </c:cat>
          <c:val>
            <c:numRef>
              <c:f>'[1679498136_Statistics_Case_Study_Student_Reference_22032023.xlsx]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801E-454A-A53E-1A2C24B942C4}"/>
            </c:ext>
          </c:extLst>
        </c:ser>
        <c:ser>
          <c:idx val="1"/>
          <c:order val="1"/>
          <c:tx>
            <c:strRef>
              <c:f>'[1679498136_Statistics_Case_Study_Student_Reference_22032023.xlsx]DRT Rolling Mean'!$D$1</c:f>
              <c:strCache>
                <c:ptCount val="1"/>
                <c:pt idx="0">
                  <c:v>Volumetric Flow Meter 2</c:v>
                </c:pt>
              </c:strCache>
            </c:strRef>
          </c:tx>
          <c:spPr>
            <a:ln w="28575" cap="rnd">
              <a:solidFill>
                <a:schemeClr val="accent3"/>
              </a:solidFill>
              <a:round/>
            </a:ln>
            <a:effectLst/>
          </c:spPr>
          <c:marker>
            <c:symbol val="none"/>
          </c:marker>
          <c:cat>
            <c:strRef>
              <c:f>'[1679498136_Statistics_Case_Study_Student_Reference_22032023.xlsx]DRT Rolling Mean'!$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10/2014 16:21</c:v>
                </c:pt>
                <c:pt idx="2423">
                  <c:v>12/10/2014 16:22</c:v>
                </c:pt>
                <c:pt idx="2424">
                  <c:v>12/10/2014 16:23</c:v>
                </c:pt>
                <c:pt idx="2425">
                  <c:v>12/10/2014 16:24</c:v>
                </c:pt>
                <c:pt idx="2426">
                  <c:v>12/10/2014 16:25</c:v>
                </c:pt>
                <c:pt idx="2427">
                  <c:v>12/10/2014 16:26</c:v>
                </c:pt>
                <c:pt idx="2428">
                  <c:v>12/10/2014 16:27</c:v>
                </c:pt>
                <c:pt idx="2429">
                  <c:v>12/10/2014 16:28</c:v>
                </c:pt>
                <c:pt idx="2430">
                  <c:v>12/10/2014 16:29</c:v>
                </c:pt>
                <c:pt idx="2431">
                  <c:v>12/10/2014 16:30</c:v>
                </c:pt>
                <c:pt idx="2432">
                  <c:v>12/10/2014 16:31</c:v>
                </c:pt>
                <c:pt idx="2433">
                  <c:v>12/10/2014 16:32</c:v>
                </c:pt>
                <c:pt idx="2434">
                  <c:v>12/10/2014 16:33</c:v>
                </c:pt>
                <c:pt idx="2435">
                  <c:v>12/10/2014 16:34</c:v>
                </c:pt>
                <c:pt idx="2436">
                  <c:v>12/10/2014 16:35</c:v>
                </c:pt>
                <c:pt idx="2437">
                  <c:v>12/10/2014 16:36</c:v>
                </c:pt>
                <c:pt idx="2438">
                  <c:v>12/10/2014 16:37</c:v>
                </c:pt>
                <c:pt idx="2439">
                  <c:v>12/10/2014 16:38</c:v>
                </c:pt>
                <c:pt idx="2440">
                  <c:v>12/10/2014 16:39</c:v>
                </c:pt>
                <c:pt idx="2441">
                  <c:v>12/10/2014 16:40</c:v>
                </c:pt>
                <c:pt idx="2442">
                  <c:v>12/10/2014 16:41</c:v>
                </c:pt>
                <c:pt idx="2443">
                  <c:v>12/10/2014 16:42</c:v>
                </c:pt>
                <c:pt idx="2444">
                  <c:v>12/10/2014 16:43</c:v>
                </c:pt>
                <c:pt idx="2445">
                  <c:v>12/10/2014 16:44</c:v>
                </c:pt>
                <c:pt idx="2446">
                  <c:v>12/10/2014 16:45</c:v>
                </c:pt>
                <c:pt idx="2447">
                  <c:v>12/10/2014 16:46</c:v>
                </c:pt>
                <c:pt idx="2448">
                  <c:v>12/10/2014 16:47</c:v>
                </c:pt>
                <c:pt idx="2449">
                  <c:v>12/10/2014 16:48</c:v>
                </c:pt>
                <c:pt idx="2450">
                  <c:v>12/10/2014 16:49</c:v>
                </c:pt>
                <c:pt idx="2451">
                  <c:v>12/10/2014 16:50</c:v>
                </c:pt>
                <c:pt idx="2452">
                  <c:v>12/10/2014 16:51</c:v>
                </c:pt>
              </c:strCache>
            </c:strRef>
          </c:cat>
          <c:val>
            <c:numRef>
              <c:f>'[1679498136_Statistics_Case_Study_Student_Reference_22032023.xlsx]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801E-454A-A53E-1A2C24B942C4}"/>
            </c:ext>
          </c:extLst>
        </c:ser>
        <c:ser>
          <c:idx val="2"/>
          <c:order val="2"/>
          <c:tx>
            <c:strRef>
              <c:f>'[1679498136_Statistics_Case_Study_Student_Reference_22032023.xlsx]DRT Rolling Mean'!$E$1</c:f>
              <c:strCache>
                <c:ptCount val="1"/>
                <c:pt idx="0">
                  <c:v>Pump Speed (RPM)</c:v>
                </c:pt>
              </c:strCache>
            </c:strRef>
          </c:tx>
          <c:spPr>
            <a:ln w="28575" cap="rnd">
              <a:solidFill>
                <a:schemeClr val="accent5"/>
              </a:solidFill>
              <a:round/>
            </a:ln>
            <a:effectLst/>
          </c:spPr>
          <c:marker>
            <c:symbol val="none"/>
          </c:marker>
          <c:cat>
            <c:strRef>
              <c:f>'[1679498136_Statistics_Case_Study_Student_Reference_22032023.xlsx]DRT Rolling Mean'!$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10/2014 16:21</c:v>
                </c:pt>
                <c:pt idx="2423">
                  <c:v>12/10/2014 16:22</c:v>
                </c:pt>
                <c:pt idx="2424">
                  <c:v>12/10/2014 16:23</c:v>
                </c:pt>
                <c:pt idx="2425">
                  <c:v>12/10/2014 16:24</c:v>
                </c:pt>
                <c:pt idx="2426">
                  <c:v>12/10/2014 16:25</c:v>
                </c:pt>
                <c:pt idx="2427">
                  <c:v>12/10/2014 16:26</c:v>
                </c:pt>
                <c:pt idx="2428">
                  <c:v>12/10/2014 16:27</c:v>
                </c:pt>
                <c:pt idx="2429">
                  <c:v>12/10/2014 16:28</c:v>
                </c:pt>
                <c:pt idx="2430">
                  <c:v>12/10/2014 16:29</c:v>
                </c:pt>
                <c:pt idx="2431">
                  <c:v>12/10/2014 16:30</c:v>
                </c:pt>
                <c:pt idx="2432">
                  <c:v>12/10/2014 16:31</c:v>
                </c:pt>
                <c:pt idx="2433">
                  <c:v>12/10/2014 16:32</c:v>
                </c:pt>
                <c:pt idx="2434">
                  <c:v>12/10/2014 16:33</c:v>
                </c:pt>
                <c:pt idx="2435">
                  <c:v>12/10/2014 16:34</c:v>
                </c:pt>
                <c:pt idx="2436">
                  <c:v>12/10/2014 16:35</c:v>
                </c:pt>
                <c:pt idx="2437">
                  <c:v>12/10/2014 16:36</c:v>
                </c:pt>
                <c:pt idx="2438">
                  <c:v>12/10/2014 16:37</c:v>
                </c:pt>
                <c:pt idx="2439">
                  <c:v>12/10/2014 16:38</c:v>
                </c:pt>
                <c:pt idx="2440">
                  <c:v>12/10/2014 16:39</c:v>
                </c:pt>
                <c:pt idx="2441">
                  <c:v>12/10/2014 16:40</c:v>
                </c:pt>
                <c:pt idx="2442">
                  <c:v>12/10/2014 16:41</c:v>
                </c:pt>
                <c:pt idx="2443">
                  <c:v>12/10/2014 16:42</c:v>
                </c:pt>
                <c:pt idx="2444">
                  <c:v>12/10/2014 16:43</c:v>
                </c:pt>
                <c:pt idx="2445">
                  <c:v>12/10/2014 16:44</c:v>
                </c:pt>
                <c:pt idx="2446">
                  <c:v>12/10/2014 16:45</c:v>
                </c:pt>
                <c:pt idx="2447">
                  <c:v>12/10/2014 16:46</c:v>
                </c:pt>
                <c:pt idx="2448">
                  <c:v>12/10/2014 16:47</c:v>
                </c:pt>
                <c:pt idx="2449">
                  <c:v>12/10/2014 16:48</c:v>
                </c:pt>
                <c:pt idx="2450">
                  <c:v>12/10/2014 16:49</c:v>
                </c:pt>
                <c:pt idx="2451">
                  <c:v>12/10/2014 16:50</c:v>
                </c:pt>
                <c:pt idx="2452">
                  <c:v>12/10/2014 16:51</c:v>
                </c:pt>
              </c:strCache>
            </c:strRef>
          </c:cat>
          <c:val>
            <c:numRef>
              <c:f>'[1679498136_Statistics_Case_Study_Student_Reference_22032023.xlsx]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2-801E-454A-A53E-1A2C24B942C4}"/>
            </c:ext>
          </c:extLst>
        </c:ser>
        <c:ser>
          <c:idx val="3"/>
          <c:order val="3"/>
          <c:tx>
            <c:strRef>
              <c:f>'[1679498136_Statistics_Case_Study_Student_Reference_22032023.xlsx]DRT Rolling Mean'!$F$1</c:f>
              <c:strCache>
                <c:ptCount val="1"/>
                <c:pt idx="0">
                  <c:v>Pump Torque </c:v>
                </c:pt>
              </c:strCache>
            </c:strRef>
          </c:tx>
          <c:spPr>
            <a:ln w="28575" cap="rnd">
              <a:solidFill>
                <a:schemeClr val="accent1">
                  <a:lumMod val="60000"/>
                </a:schemeClr>
              </a:solidFill>
              <a:round/>
            </a:ln>
            <a:effectLst/>
          </c:spPr>
          <c:marker>
            <c:symbol val="none"/>
          </c:marker>
          <c:cat>
            <c:strRef>
              <c:f>'[1679498136_Statistics_Case_Study_Student_Reference_22032023.xlsx]DRT Rolling Mean'!$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10/2014 16:21</c:v>
                </c:pt>
                <c:pt idx="2423">
                  <c:v>12/10/2014 16:22</c:v>
                </c:pt>
                <c:pt idx="2424">
                  <c:v>12/10/2014 16:23</c:v>
                </c:pt>
                <c:pt idx="2425">
                  <c:v>12/10/2014 16:24</c:v>
                </c:pt>
                <c:pt idx="2426">
                  <c:v>12/10/2014 16:25</c:v>
                </c:pt>
                <c:pt idx="2427">
                  <c:v>12/10/2014 16:26</c:v>
                </c:pt>
                <c:pt idx="2428">
                  <c:v>12/10/2014 16:27</c:v>
                </c:pt>
                <c:pt idx="2429">
                  <c:v>12/10/2014 16:28</c:v>
                </c:pt>
                <c:pt idx="2430">
                  <c:v>12/10/2014 16:29</c:v>
                </c:pt>
                <c:pt idx="2431">
                  <c:v>12/10/2014 16:30</c:v>
                </c:pt>
                <c:pt idx="2432">
                  <c:v>12/10/2014 16:31</c:v>
                </c:pt>
                <c:pt idx="2433">
                  <c:v>12/10/2014 16:32</c:v>
                </c:pt>
                <c:pt idx="2434">
                  <c:v>12/10/2014 16:33</c:v>
                </c:pt>
                <c:pt idx="2435">
                  <c:v>12/10/2014 16:34</c:v>
                </c:pt>
                <c:pt idx="2436">
                  <c:v>12/10/2014 16:35</c:v>
                </c:pt>
                <c:pt idx="2437">
                  <c:v>12/10/2014 16:36</c:v>
                </c:pt>
                <c:pt idx="2438">
                  <c:v>12/10/2014 16:37</c:v>
                </c:pt>
                <c:pt idx="2439">
                  <c:v>12/10/2014 16:38</c:v>
                </c:pt>
                <c:pt idx="2440">
                  <c:v>12/10/2014 16:39</c:v>
                </c:pt>
                <c:pt idx="2441">
                  <c:v>12/10/2014 16:40</c:v>
                </c:pt>
                <c:pt idx="2442">
                  <c:v>12/10/2014 16:41</c:v>
                </c:pt>
                <c:pt idx="2443">
                  <c:v>12/10/2014 16:42</c:v>
                </c:pt>
                <c:pt idx="2444">
                  <c:v>12/10/2014 16:43</c:v>
                </c:pt>
                <c:pt idx="2445">
                  <c:v>12/10/2014 16:44</c:v>
                </c:pt>
                <c:pt idx="2446">
                  <c:v>12/10/2014 16:45</c:v>
                </c:pt>
                <c:pt idx="2447">
                  <c:v>12/10/2014 16:46</c:v>
                </c:pt>
                <c:pt idx="2448">
                  <c:v>12/10/2014 16:47</c:v>
                </c:pt>
                <c:pt idx="2449">
                  <c:v>12/10/2014 16:48</c:v>
                </c:pt>
                <c:pt idx="2450">
                  <c:v>12/10/2014 16:49</c:v>
                </c:pt>
                <c:pt idx="2451">
                  <c:v>12/10/2014 16:50</c:v>
                </c:pt>
                <c:pt idx="2452">
                  <c:v>12/10/2014 16:51</c:v>
                </c:pt>
              </c:strCache>
            </c:strRef>
          </c:cat>
          <c:val>
            <c:numRef>
              <c:f>'[1679498136_Statistics_Case_Study_Student_Reference_22032023.xlsx]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3-801E-454A-A53E-1A2C24B942C4}"/>
            </c:ext>
          </c:extLst>
        </c:ser>
        <c:ser>
          <c:idx val="4"/>
          <c:order val="4"/>
          <c:tx>
            <c:strRef>
              <c:f>'[1679498136_Statistics_Case_Study_Student_Reference_22032023.xlsx]DRT Rolling Mean'!$G$1</c:f>
              <c:strCache>
                <c:ptCount val="1"/>
                <c:pt idx="0">
                  <c:v>Ambient Temperature</c:v>
                </c:pt>
              </c:strCache>
            </c:strRef>
          </c:tx>
          <c:spPr>
            <a:ln w="28575" cap="rnd">
              <a:solidFill>
                <a:schemeClr val="accent3">
                  <a:lumMod val="60000"/>
                </a:schemeClr>
              </a:solidFill>
              <a:round/>
            </a:ln>
            <a:effectLst/>
          </c:spPr>
          <c:marker>
            <c:symbol val="none"/>
          </c:marker>
          <c:cat>
            <c:strRef>
              <c:f>'[1679498136_Statistics_Case_Study_Student_Reference_22032023.xlsx]DRT Rolling Mean'!$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10/2014 16:21</c:v>
                </c:pt>
                <c:pt idx="2423">
                  <c:v>12/10/2014 16:22</c:v>
                </c:pt>
                <c:pt idx="2424">
                  <c:v>12/10/2014 16:23</c:v>
                </c:pt>
                <c:pt idx="2425">
                  <c:v>12/10/2014 16:24</c:v>
                </c:pt>
                <c:pt idx="2426">
                  <c:v>12/10/2014 16:25</c:v>
                </c:pt>
                <c:pt idx="2427">
                  <c:v>12/10/2014 16:26</c:v>
                </c:pt>
                <c:pt idx="2428">
                  <c:v>12/10/2014 16:27</c:v>
                </c:pt>
                <c:pt idx="2429">
                  <c:v>12/10/2014 16:28</c:v>
                </c:pt>
                <c:pt idx="2430">
                  <c:v>12/10/2014 16:29</c:v>
                </c:pt>
                <c:pt idx="2431">
                  <c:v>12/10/2014 16:30</c:v>
                </c:pt>
                <c:pt idx="2432">
                  <c:v>12/10/2014 16:31</c:v>
                </c:pt>
                <c:pt idx="2433">
                  <c:v>12/10/2014 16:32</c:v>
                </c:pt>
                <c:pt idx="2434">
                  <c:v>12/10/2014 16:33</c:v>
                </c:pt>
                <c:pt idx="2435">
                  <c:v>12/10/2014 16:34</c:v>
                </c:pt>
                <c:pt idx="2436">
                  <c:v>12/10/2014 16:35</c:v>
                </c:pt>
                <c:pt idx="2437">
                  <c:v>12/10/2014 16:36</c:v>
                </c:pt>
                <c:pt idx="2438">
                  <c:v>12/10/2014 16:37</c:v>
                </c:pt>
                <c:pt idx="2439">
                  <c:v>12/10/2014 16:38</c:v>
                </c:pt>
                <c:pt idx="2440">
                  <c:v>12/10/2014 16:39</c:v>
                </c:pt>
                <c:pt idx="2441">
                  <c:v>12/10/2014 16:40</c:v>
                </c:pt>
                <c:pt idx="2442">
                  <c:v>12/10/2014 16:41</c:v>
                </c:pt>
                <c:pt idx="2443">
                  <c:v>12/10/2014 16:42</c:v>
                </c:pt>
                <c:pt idx="2444">
                  <c:v>12/10/2014 16:43</c:v>
                </c:pt>
                <c:pt idx="2445">
                  <c:v>12/10/2014 16:44</c:v>
                </c:pt>
                <c:pt idx="2446">
                  <c:v>12/10/2014 16:45</c:v>
                </c:pt>
                <c:pt idx="2447">
                  <c:v>12/10/2014 16:46</c:v>
                </c:pt>
                <c:pt idx="2448">
                  <c:v>12/10/2014 16:47</c:v>
                </c:pt>
                <c:pt idx="2449">
                  <c:v>12/10/2014 16:48</c:v>
                </c:pt>
                <c:pt idx="2450">
                  <c:v>12/10/2014 16:49</c:v>
                </c:pt>
                <c:pt idx="2451">
                  <c:v>12/10/2014 16:50</c:v>
                </c:pt>
                <c:pt idx="2452">
                  <c:v>12/10/2014 16:51</c:v>
                </c:pt>
              </c:strCache>
            </c:strRef>
          </c:cat>
          <c:val>
            <c:numRef>
              <c:f>'[1679498136_Statistics_Case_Study_Student_Reference_22032023.xlsx]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4-801E-454A-A53E-1A2C24B942C4}"/>
            </c:ext>
          </c:extLst>
        </c:ser>
        <c:ser>
          <c:idx val="6"/>
          <c:order val="6"/>
          <c:tx>
            <c:strRef>
              <c:f>'[1679498136_Statistics_Case_Study_Student_Reference_22032023.xlsx]DRT Rolling Mean'!$I$1</c:f>
              <c:strCache>
                <c:ptCount val="1"/>
                <c:pt idx="0">
                  <c:v>Pump Efficiency</c:v>
                </c:pt>
              </c:strCache>
            </c:strRef>
          </c:tx>
          <c:spPr>
            <a:ln w="28575" cap="rnd">
              <a:solidFill>
                <a:schemeClr val="accent1">
                  <a:lumMod val="80000"/>
                  <a:lumOff val="20000"/>
                </a:schemeClr>
              </a:solidFill>
              <a:round/>
            </a:ln>
            <a:effectLst/>
          </c:spPr>
          <c:marker>
            <c:symbol val="none"/>
          </c:marker>
          <c:cat>
            <c:strRef>
              <c:f>'[1679498136_Statistics_Case_Study_Student_Reference_22032023.xlsx]DRT Rolling Mean'!$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10/2014 16:21</c:v>
                </c:pt>
                <c:pt idx="2423">
                  <c:v>12/10/2014 16:22</c:v>
                </c:pt>
                <c:pt idx="2424">
                  <c:v>12/10/2014 16:23</c:v>
                </c:pt>
                <c:pt idx="2425">
                  <c:v>12/10/2014 16:24</c:v>
                </c:pt>
                <c:pt idx="2426">
                  <c:v>12/10/2014 16:25</c:v>
                </c:pt>
                <c:pt idx="2427">
                  <c:v>12/10/2014 16:26</c:v>
                </c:pt>
                <c:pt idx="2428">
                  <c:v>12/10/2014 16:27</c:v>
                </c:pt>
                <c:pt idx="2429">
                  <c:v>12/10/2014 16:28</c:v>
                </c:pt>
                <c:pt idx="2430">
                  <c:v>12/10/2014 16:29</c:v>
                </c:pt>
                <c:pt idx="2431">
                  <c:v>12/10/2014 16:30</c:v>
                </c:pt>
                <c:pt idx="2432">
                  <c:v>12/10/2014 16:31</c:v>
                </c:pt>
                <c:pt idx="2433">
                  <c:v>12/10/2014 16:32</c:v>
                </c:pt>
                <c:pt idx="2434">
                  <c:v>12/10/2014 16:33</c:v>
                </c:pt>
                <c:pt idx="2435">
                  <c:v>12/10/2014 16:34</c:v>
                </c:pt>
                <c:pt idx="2436">
                  <c:v>12/10/2014 16:35</c:v>
                </c:pt>
                <c:pt idx="2437">
                  <c:v>12/10/2014 16:36</c:v>
                </c:pt>
                <c:pt idx="2438">
                  <c:v>12/10/2014 16:37</c:v>
                </c:pt>
                <c:pt idx="2439">
                  <c:v>12/10/2014 16:38</c:v>
                </c:pt>
                <c:pt idx="2440">
                  <c:v>12/10/2014 16:39</c:v>
                </c:pt>
                <c:pt idx="2441">
                  <c:v>12/10/2014 16:40</c:v>
                </c:pt>
                <c:pt idx="2442">
                  <c:v>12/10/2014 16:41</c:v>
                </c:pt>
                <c:pt idx="2443">
                  <c:v>12/10/2014 16:42</c:v>
                </c:pt>
                <c:pt idx="2444">
                  <c:v>12/10/2014 16:43</c:v>
                </c:pt>
                <c:pt idx="2445">
                  <c:v>12/10/2014 16:44</c:v>
                </c:pt>
                <c:pt idx="2446">
                  <c:v>12/10/2014 16:45</c:v>
                </c:pt>
                <c:pt idx="2447">
                  <c:v>12/10/2014 16:46</c:v>
                </c:pt>
                <c:pt idx="2448">
                  <c:v>12/10/2014 16:47</c:v>
                </c:pt>
                <c:pt idx="2449">
                  <c:v>12/10/2014 16:48</c:v>
                </c:pt>
                <c:pt idx="2450">
                  <c:v>12/10/2014 16:49</c:v>
                </c:pt>
                <c:pt idx="2451">
                  <c:v>12/10/2014 16:50</c:v>
                </c:pt>
                <c:pt idx="2452">
                  <c:v>12/10/2014 16:51</c:v>
                </c:pt>
              </c:strCache>
            </c:strRef>
          </c:cat>
          <c:val>
            <c:numRef>
              <c:f>'[1679498136_Statistics_Case_Study_Student_Reference_22032023.xlsx]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5-801E-454A-A53E-1A2C24B942C4}"/>
            </c:ext>
          </c:extLst>
        </c:ser>
        <c:dLbls>
          <c:showLegendKey val="0"/>
          <c:showVal val="0"/>
          <c:showCatName val="0"/>
          <c:showSerName val="0"/>
          <c:showPercent val="0"/>
          <c:showBubbleSize val="0"/>
        </c:dLbls>
        <c:marker val="1"/>
        <c:smooth val="0"/>
        <c:axId val="1469661983"/>
        <c:axId val="1469683103"/>
      </c:lineChart>
      <c:lineChart>
        <c:grouping val="standard"/>
        <c:varyColors val="0"/>
        <c:ser>
          <c:idx val="5"/>
          <c:order val="5"/>
          <c:tx>
            <c:strRef>
              <c:f>'[1679498136_Statistics_Case_Study_Student_Reference_22032023.xlsx]DRT Rolling Mean'!$H$1</c:f>
              <c:strCache>
                <c:ptCount val="1"/>
                <c:pt idx="0">
                  <c:v>Horse Power</c:v>
                </c:pt>
              </c:strCache>
            </c:strRef>
          </c:tx>
          <c:spPr>
            <a:ln w="28575" cap="rnd">
              <a:solidFill>
                <a:schemeClr val="accent5">
                  <a:lumMod val="60000"/>
                </a:schemeClr>
              </a:solidFill>
              <a:round/>
            </a:ln>
            <a:effectLst/>
          </c:spPr>
          <c:marker>
            <c:symbol val="none"/>
          </c:marker>
          <c:val>
            <c:numRef>
              <c:f>'[1679498136_Statistics_Case_Study_Student_Reference_22032023.xlsx]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801E-454A-A53E-1A2C24B942C4}"/>
            </c:ext>
          </c:extLst>
        </c:ser>
        <c:ser>
          <c:idx val="7"/>
          <c:order val="7"/>
          <c:tx>
            <c:strRef>
              <c:f>'[1679498136_Statistics_Case_Study_Student_Reference_22032023.xlsx]DRT Rolling Mean'!$J$1</c:f>
              <c:strCache>
                <c:ptCount val="1"/>
                <c:pt idx="0">
                  <c:v>PUMP FAILURE (1 or 0)</c:v>
                </c:pt>
              </c:strCache>
            </c:strRef>
          </c:tx>
          <c:spPr>
            <a:ln w="28575" cap="rnd">
              <a:solidFill>
                <a:schemeClr val="accent3">
                  <a:lumMod val="80000"/>
                  <a:lumOff val="20000"/>
                </a:schemeClr>
              </a:solidFill>
              <a:round/>
            </a:ln>
            <a:effectLst/>
          </c:spPr>
          <c:marker>
            <c:symbol val="none"/>
          </c:marker>
          <c:val>
            <c:numRef>
              <c:f>'[1679498136_Statistics_Case_Study_Student_Reference_22032023.xlsx]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801E-454A-A53E-1A2C24B942C4}"/>
            </c:ext>
          </c:extLst>
        </c:ser>
        <c:dLbls>
          <c:showLegendKey val="0"/>
          <c:showVal val="0"/>
          <c:showCatName val="0"/>
          <c:showSerName val="0"/>
          <c:showPercent val="0"/>
          <c:showBubbleSize val="0"/>
        </c:dLbls>
        <c:marker val="1"/>
        <c:smooth val="0"/>
        <c:axId val="1322039503"/>
        <c:axId val="1322050063"/>
      </c:lineChart>
      <c:catAx>
        <c:axId val="14696619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9683103"/>
        <c:crosses val="autoZero"/>
        <c:auto val="1"/>
        <c:lblAlgn val="ctr"/>
        <c:lblOffset val="100"/>
        <c:noMultiLvlLbl val="0"/>
      </c:catAx>
      <c:valAx>
        <c:axId val="1469683103"/>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9661983"/>
        <c:crosses val="autoZero"/>
        <c:crossBetween val="between"/>
      </c:valAx>
      <c:valAx>
        <c:axId val="1322050063"/>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22039503"/>
        <c:crosses val="max"/>
        <c:crossBetween val="between"/>
      </c:valAx>
      <c:catAx>
        <c:axId val="1322039503"/>
        <c:scaling>
          <c:orientation val="minMax"/>
        </c:scaling>
        <c:delete val="1"/>
        <c:axPos val="b"/>
        <c:majorTickMark val="out"/>
        <c:minorTickMark val="none"/>
        <c:tickLblPos val="nextTo"/>
        <c:crossAx val="132205006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ll Variables. Rolling Stdev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1679498136_Statistics_Case_Study_Student_Reference_22032023.xlsx]DRT Rolling Stdev'!$C$1</c:f>
              <c:strCache>
                <c:ptCount val="1"/>
                <c:pt idx="0">
                  <c:v>Volumetric Flow Meter 1</c:v>
                </c:pt>
              </c:strCache>
            </c:strRef>
          </c:tx>
          <c:spPr>
            <a:ln w="28575" cap="rnd">
              <a:solidFill>
                <a:schemeClr val="accent1"/>
              </a:solidFill>
              <a:round/>
            </a:ln>
            <a:effectLst/>
          </c:spPr>
          <c:marker>
            <c:symbol val="none"/>
          </c:marker>
          <c:cat>
            <c:strRef>
              <c:f>'[1679498136_Statistics_Case_Study_Student_Reference_22032023.xlsx]DRT Rolling Stdev'!$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10/2014 16:21</c:v>
                </c:pt>
                <c:pt idx="2423">
                  <c:v>12/10/2014 16:22</c:v>
                </c:pt>
                <c:pt idx="2424">
                  <c:v>12/10/2014 16:23</c:v>
                </c:pt>
                <c:pt idx="2425">
                  <c:v>12/10/2014 16:24</c:v>
                </c:pt>
                <c:pt idx="2426">
                  <c:v>12/10/2014 16:25</c:v>
                </c:pt>
                <c:pt idx="2427">
                  <c:v>12/10/2014 16:26</c:v>
                </c:pt>
                <c:pt idx="2428">
                  <c:v>12/10/2014 16:27</c:v>
                </c:pt>
                <c:pt idx="2429">
                  <c:v>12/10/2014 16:28</c:v>
                </c:pt>
                <c:pt idx="2430">
                  <c:v>12/10/2014 16:29</c:v>
                </c:pt>
                <c:pt idx="2431">
                  <c:v>12/10/2014 16:30</c:v>
                </c:pt>
                <c:pt idx="2432">
                  <c:v>12/10/2014 16:31</c:v>
                </c:pt>
                <c:pt idx="2433">
                  <c:v>12/10/2014 16:32</c:v>
                </c:pt>
                <c:pt idx="2434">
                  <c:v>12/10/2014 16:33</c:v>
                </c:pt>
                <c:pt idx="2435">
                  <c:v>12/10/2014 16:34</c:v>
                </c:pt>
                <c:pt idx="2436">
                  <c:v>12/10/2014 16:35</c:v>
                </c:pt>
                <c:pt idx="2437">
                  <c:v>12/10/2014 16:36</c:v>
                </c:pt>
                <c:pt idx="2438">
                  <c:v>12/10/2014 16:37</c:v>
                </c:pt>
                <c:pt idx="2439">
                  <c:v>12/10/2014 16:38</c:v>
                </c:pt>
                <c:pt idx="2440">
                  <c:v>12/10/2014 16:39</c:v>
                </c:pt>
                <c:pt idx="2441">
                  <c:v>12/10/2014 16:40</c:v>
                </c:pt>
                <c:pt idx="2442">
                  <c:v>12/10/2014 16:41</c:v>
                </c:pt>
                <c:pt idx="2443">
                  <c:v>12/10/2014 16:42</c:v>
                </c:pt>
                <c:pt idx="2444">
                  <c:v>12/10/2014 16:43</c:v>
                </c:pt>
                <c:pt idx="2445">
                  <c:v>12/10/2014 16:44</c:v>
                </c:pt>
                <c:pt idx="2446">
                  <c:v>12/10/2014 16:45</c:v>
                </c:pt>
                <c:pt idx="2447">
                  <c:v>12/10/2014 16:46</c:v>
                </c:pt>
                <c:pt idx="2448">
                  <c:v>12/10/2014 16:47</c:v>
                </c:pt>
                <c:pt idx="2449">
                  <c:v>12/10/2014 16:48</c:v>
                </c:pt>
                <c:pt idx="2450">
                  <c:v>12/10/2014 16:49</c:v>
                </c:pt>
                <c:pt idx="2451">
                  <c:v>12/10/2014 16:50</c:v>
                </c:pt>
                <c:pt idx="2452">
                  <c:v>12/10/2014 16:51</c:v>
                </c:pt>
              </c:strCache>
            </c:strRef>
          </c:cat>
          <c:val>
            <c:numRef>
              <c:f>'[1679498136_Statistics_Case_Study_Student_Reference_22032023.xlsx]DRT Rolling Stdev'!$C$2:$C$2454</c:f>
              <c:numCache>
                <c:formatCode>#,##0.00</c:formatCode>
                <c:ptCount val="2453"/>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606E-47FF-A81B-8D4EB62255C2}"/>
            </c:ext>
          </c:extLst>
        </c:ser>
        <c:ser>
          <c:idx val="1"/>
          <c:order val="1"/>
          <c:tx>
            <c:strRef>
              <c:f>'[1679498136_Statistics_Case_Study_Student_Reference_22032023.xlsx]DRT Rolling Stdev'!$D$1</c:f>
              <c:strCache>
                <c:ptCount val="1"/>
                <c:pt idx="0">
                  <c:v>Volumetric Flow Meter 2</c:v>
                </c:pt>
              </c:strCache>
            </c:strRef>
          </c:tx>
          <c:spPr>
            <a:ln w="28575" cap="rnd">
              <a:solidFill>
                <a:schemeClr val="accent2"/>
              </a:solidFill>
              <a:round/>
            </a:ln>
            <a:effectLst/>
          </c:spPr>
          <c:marker>
            <c:symbol val="none"/>
          </c:marker>
          <c:cat>
            <c:strRef>
              <c:f>'[1679498136_Statistics_Case_Study_Student_Reference_22032023.xlsx]DRT Rolling Stdev'!$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10/2014 16:21</c:v>
                </c:pt>
                <c:pt idx="2423">
                  <c:v>12/10/2014 16:22</c:v>
                </c:pt>
                <c:pt idx="2424">
                  <c:v>12/10/2014 16:23</c:v>
                </c:pt>
                <c:pt idx="2425">
                  <c:v>12/10/2014 16:24</c:v>
                </c:pt>
                <c:pt idx="2426">
                  <c:v>12/10/2014 16:25</c:v>
                </c:pt>
                <c:pt idx="2427">
                  <c:v>12/10/2014 16:26</c:v>
                </c:pt>
                <c:pt idx="2428">
                  <c:v>12/10/2014 16:27</c:v>
                </c:pt>
                <c:pt idx="2429">
                  <c:v>12/10/2014 16:28</c:v>
                </c:pt>
                <c:pt idx="2430">
                  <c:v>12/10/2014 16:29</c:v>
                </c:pt>
                <c:pt idx="2431">
                  <c:v>12/10/2014 16:30</c:v>
                </c:pt>
                <c:pt idx="2432">
                  <c:v>12/10/2014 16:31</c:v>
                </c:pt>
                <c:pt idx="2433">
                  <c:v>12/10/2014 16:32</c:v>
                </c:pt>
                <c:pt idx="2434">
                  <c:v>12/10/2014 16:33</c:v>
                </c:pt>
                <c:pt idx="2435">
                  <c:v>12/10/2014 16:34</c:v>
                </c:pt>
                <c:pt idx="2436">
                  <c:v>12/10/2014 16:35</c:v>
                </c:pt>
                <c:pt idx="2437">
                  <c:v>12/10/2014 16:36</c:v>
                </c:pt>
                <c:pt idx="2438">
                  <c:v>12/10/2014 16:37</c:v>
                </c:pt>
                <c:pt idx="2439">
                  <c:v>12/10/2014 16:38</c:v>
                </c:pt>
                <c:pt idx="2440">
                  <c:v>12/10/2014 16:39</c:v>
                </c:pt>
                <c:pt idx="2441">
                  <c:v>12/10/2014 16:40</c:v>
                </c:pt>
                <c:pt idx="2442">
                  <c:v>12/10/2014 16:41</c:v>
                </c:pt>
                <c:pt idx="2443">
                  <c:v>12/10/2014 16:42</c:v>
                </c:pt>
                <c:pt idx="2444">
                  <c:v>12/10/2014 16:43</c:v>
                </c:pt>
                <c:pt idx="2445">
                  <c:v>12/10/2014 16:44</c:v>
                </c:pt>
                <c:pt idx="2446">
                  <c:v>12/10/2014 16:45</c:v>
                </c:pt>
                <c:pt idx="2447">
                  <c:v>12/10/2014 16:46</c:v>
                </c:pt>
                <c:pt idx="2448">
                  <c:v>12/10/2014 16:47</c:v>
                </c:pt>
                <c:pt idx="2449">
                  <c:v>12/10/2014 16:48</c:v>
                </c:pt>
                <c:pt idx="2450">
                  <c:v>12/10/2014 16:49</c:v>
                </c:pt>
                <c:pt idx="2451">
                  <c:v>12/10/2014 16:50</c:v>
                </c:pt>
                <c:pt idx="2452">
                  <c:v>12/10/2014 16:51</c:v>
                </c:pt>
              </c:strCache>
            </c:strRef>
          </c:cat>
          <c:val>
            <c:numRef>
              <c:f>'[1679498136_Statistics_Case_Study_Student_Reference_22032023.xlsx]DRT Rolling Stdev'!$D$2:$D$2454</c:f>
              <c:numCache>
                <c:formatCode>#,##0.00</c:formatCode>
                <c:ptCount val="2453"/>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606E-47FF-A81B-8D4EB62255C2}"/>
            </c:ext>
          </c:extLst>
        </c:ser>
        <c:ser>
          <c:idx val="2"/>
          <c:order val="2"/>
          <c:tx>
            <c:strRef>
              <c:f>'[1679498136_Statistics_Case_Study_Student_Reference_22032023.xlsx]DRT Rolling Stdev'!$E$1</c:f>
              <c:strCache>
                <c:ptCount val="1"/>
                <c:pt idx="0">
                  <c:v>Pump Speed (RPM)</c:v>
                </c:pt>
              </c:strCache>
            </c:strRef>
          </c:tx>
          <c:spPr>
            <a:ln w="28575" cap="rnd">
              <a:solidFill>
                <a:schemeClr val="accent3"/>
              </a:solidFill>
              <a:round/>
            </a:ln>
            <a:effectLst/>
          </c:spPr>
          <c:marker>
            <c:symbol val="none"/>
          </c:marker>
          <c:cat>
            <c:strRef>
              <c:f>'[1679498136_Statistics_Case_Study_Student_Reference_22032023.xlsx]DRT Rolling Stdev'!$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10/2014 16:21</c:v>
                </c:pt>
                <c:pt idx="2423">
                  <c:v>12/10/2014 16:22</c:v>
                </c:pt>
                <c:pt idx="2424">
                  <c:v>12/10/2014 16:23</c:v>
                </c:pt>
                <c:pt idx="2425">
                  <c:v>12/10/2014 16:24</c:v>
                </c:pt>
                <c:pt idx="2426">
                  <c:v>12/10/2014 16:25</c:v>
                </c:pt>
                <c:pt idx="2427">
                  <c:v>12/10/2014 16:26</c:v>
                </c:pt>
                <c:pt idx="2428">
                  <c:v>12/10/2014 16:27</c:v>
                </c:pt>
                <c:pt idx="2429">
                  <c:v>12/10/2014 16:28</c:v>
                </c:pt>
                <c:pt idx="2430">
                  <c:v>12/10/2014 16:29</c:v>
                </c:pt>
                <c:pt idx="2431">
                  <c:v>12/10/2014 16:30</c:v>
                </c:pt>
                <c:pt idx="2432">
                  <c:v>12/10/2014 16:31</c:v>
                </c:pt>
                <c:pt idx="2433">
                  <c:v>12/10/2014 16:32</c:v>
                </c:pt>
                <c:pt idx="2434">
                  <c:v>12/10/2014 16:33</c:v>
                </c:pt>
                <c:pt idx="2435">
                  <c:v>12/10/2014 16:34</c:v>
                </c:pt>
                <c:pt idx="2436">
                  <c:v>12/10/2014 16:35</c:v>
                </c:pt>
                <c:pt idx="2437">
                  <c:v>12/10/2014 16:36</c:v>
                </c:pt>
                <c:pt idx="2438">
                  <c:v>12/10/2014 16:37</c:v>
                </c:pt>
                <c:pt idx="2439">
                  <c:v>12/10/2014 16:38</c:v>
                </c:pt>
                <c:pt idx="2440">
                  <c:v>12/10/2014 16:39</c:v>
                </c:pt>
                <c:pt idx="2441">
                  <c:v>12/10/2014 16:40</c:v>
                </c:pt>
                <c:pt idx="2442">
                  <c:v>12/10/2014 16:41</c:v>
                </c:pt>
                <c:pt idx="2443">
                  <c:v>12/10/2014 16:42</c:v>
                </c:pt>
                <c:pt idx="2444">
                  <c:v>12/10/2014 16:43</c:v>
                </c:pt>
                <c:pt idx="2445">
                  <c:v>12/10/2014 16:44</c:v>
                </c:pt>
                <c:pt idx="2446">
                  <c:v>12/10/2014 16:45</c:v>
                </c:pt>
                <c:pt idx="2447">
                  <c:v>12/10/2014 16:46</c:v>
                </c:pt>
                <c:pt idx="2448">
                  <c:v>12/10/2014 16:47</c:v>
                </c:pt>
                <c:pt idx="2449">
                  <c:v>12/10/2014 16:48</c:v>
                </c:pt>
                <c:pt idx="2450">
                  <c:v>12/10/2014 16:49</c:v>
                </c:pt>
                <c:pt idx="2451">
                  <c:v>12/10/2014 16:50</c:v>
                </c:pt>
                <c:pt idx="2452">
                  <c:v>12/10/2014 16:51</c:v>
                </c:pt>
              </c:strCache>
            </c:strRef>
          </c:cat>
          <c:val>
            <c:numRef>
              <c:f>'[1679498136_Statistics_Case_Study_Student_Reference_22032023.xlsx]DRT Rolling Stdev'!$E$2:$E$2454</c:f>
              <c:numCache>
                <c:formatCode>#,##0.00</c:formatCode>
                <c:ptCount val="2453"/>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2-606E-47FF-A81B-8D4EB62255C2}"/>
            </c:ext>
          </c:extLst>
        </c:ser>
        <c:ser>
          <c:idx val="3"/>
          <c:order val="3"/>
          <c:tx>
            <c:strRef>
              <c:f>'[1679498136_Statistics_Case_Study_Student_Reference_22032023.xlsx]DRT Rolling Stdev'!$F$1</c:f>
              <c:strCache>
                <c:ptCount val="1"/>
                <c:pt idx="0">
                  <c:v>Pump Torque </c:v>
                </c:pt>
              </c:strCache>
            </c:strRef>
          </c:tx>
          <c:spPr>
            <a:ln w="28575" cap="rnd">
              <a:solidFill>
                <a:schemeClr val="accent4"/>
              </a:solidFill>
              <a:round/>
            </a:ln>
            <a:effectLst/>
          </c:spPr>
          <c:marker>
            <c:symbol val="none"/>
          </c:marker>
          <c:cat>
            <c:strRef>
              <c:f>'[1679498136_Statistics_Case_Study_Student_Reference_22032023.xlsx]DRT Rolling Stdev'!$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10/2014 16:21</c:v>
                </c:pt>
                <c:pt idx="2423">
                  <c:v>12/10/2014 16:22</c:v>
                </c:pt>
                <c:pt idx="2424">
                  <c:v>12/10/2014 16:23</c:v>
                </c:pt>
                <c:pt idx="2425">
                  <c:v>12/10/2014 16:24</c:v>
                </c:pt>
                <c:pt idx="2426">
                  <c:v>12/10/2014 16:25</c:v>
                </c:pt>
                <c:pt idx="2427">
                  <c:v>12/10/2014 16:26</c:v>
                </c:pt>
                <c:pt idx="2428">
                  <c:v>12/10/2014 16:27</c:v>
                </c:pt>
                <c:pt idx="2429">
                  <c:v>12/10/2014 16:28</c:v>
                </c:pt>
                <c:pt idx="2430">
                  <c:v>12/10/2014 16:29</c:v>
                </c:pt>
                <c:pt idx="2431">
                  <c:v>12/10/2014 16:30</c:v>
                </c:pt>
                <c:pt idx="2432">
                  <c:v>12/10/2014 16:31</c:v>
                </c:pt>
                <c:pt idx="2433">
                  <c:v>12/10/2014 16:32</c:v>
                </c:pt>
                <c:pt idx="2434">
                  <c:v>12/10/2014 16:33</c:v>
                </c:pt>
                <c:pt idx="2435">
                  <c:v>12/10/2014 16:34</c:v>
                </c:pt>
                <c:pt idx="2436">
                  <c:v>12/10/2014 16:35</c:v>
                </c:pt>
                <c:pt idx="2437">
                  <c:v>12/10/2014 16:36</c:v>
                </c:pt>
                <c:pt idx="2438">
                  <c:v>12/10/2014 16:37</c:v>
                </c:pt>
                <c:pt idx="2439">
                  <c:v>12/10/2014 16:38</c:v>
                </c:pt>
                <c:pt idx="2440">
                  <c:v>12/10/2014 16:39</c:v>
                </c:pt>
                <c:pt idx="2441">
                  <c:v>12/10/2014 16:40</c:v>
                </c:pt>
                <c:pt idx="2442">
                  <c:v>12/10/2014 16:41</c:v>
                </c:pt>
                <c:pt idx="2443">
                  <c:v>12/10/2014 16:42</c:v>
                </c:pt>
                <c:pt idx="2444">
                  <c:v>12/10/2014 16:43</c:v>
                </c:pt>
                <c:pt idx="2445">
                  <c:v>12/10/2014 16:44</c:v>
                </c:pt>
                <c:pt idx="2446">
                  <c:v>12/10/2014 16:45</c:v>
                </c:pt>
                <c:pt idx="2447">
                  <c:v>12/10/2014 16:46</c:v>
                </c:pt>
                <c:pt idx="2448">
                  <c:v>12/10/2014 16:47</c:v>
                </c:pt>
                <c:pt idx="2449">
                  <c:v>12/10/2014 16:48</c:v>
                </c:pt>
                <c:pt idx="2450">
                  <c:v>12/10/2014 16:49</c:v>
                </c:pt>
                <c:pt idx="2451">
                  <c:v>12/10/2014 16:50</c:v>
                </c:pt>
                <c:pt idx="2452">
                  <c:v>12/10/2014 16:51</c:v>
                </c:pt>
              </c:strCache>
            </c:strRef>
          </c:cat>
          <c:val>
            <c:numRef>
              <c:f>'[1679498136_Statistics_Case_Study_Student_Reference_22032023.xlsx]DRT Rolling Stdev'!$F$2:$F$2454</c:f>
              <c:numCache>
                <c:formatCode>#,##0.00</c:formatCode>
                <c:ptCount val="2453"/>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3-606E-47FF-A81B-8D4EB62255C2}"/>
            </c:ext>
          </c:extLst>
        </c:ser>
        <c:ser>
          <c:idx val="4"/>
          <c:order val="4"/>
          <c:tx>
            <c:strRef>
              <c:f>'[1679498136_Statistics_Case_Study_Student_Reference_22032023.xlsx]DRT Rolling Stdev'!$G$1</c:f>
              <c:strCache>
                <c:ptCount val="1"/>
                <c:pt idx="0">
                  <c:v>Ambient Temperature</c:v>
                </c:pt>
              </c:strCache>
            </c:strRef>
          </c:tx>
          <c:spPr>
            <a:ln w="28575" cap="rnd">
              <a:solidFill>
                <a:schemeClr val="accent5"/>
              </a:solidFill>
              <a:round/>
            </a:ln>
            <a:effectLst/>
          </c:spPr>
          <c:marker>
            <c:symbol val="none"/>
          </c:marker>
          <c:cat>
            <c:strRef>
              <c:f>'[1679498136_Statistics_Case_Study_Student_Reference_22032023.xlsx]DRT Rolling Stdev'!$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10/2014 16:21</c:v>
                </c:pt>
                <c:pt idx="2423">
                  <c:v>12/10/2014 16:22</c:v>
                </c:pt>
                <c:pt idx="2424">
                  <c:v>12/10/2014 16:23</c:v>
                </c:pt>
                <c:pt idx="2425">
                  <c:v>12/10/2014 16:24</c:v>
                </c:pt>
                <c:pt idx="2426">
                  <c:v>12/10/2014 16:25</c:v>
                </c:pt>
                <c:pt idx="2427">
                  <c:v>12/10/2014 16:26</c:v>
                </c:pt>
                <c:pt idx="2428">
                  <c:v>12/10/2014 16:27</c:v>
                </c:pt>
                <c:pt idx="2429">
                  <c:v>12/10/2014 16:28</c:v>
                </c:pt>
                <c:pt idx="2430">
                  <c:v>12/10/2014 16:29</c:v>
                </c:pt>
                <c:pt idx="2431">
                  <c:v>12/10/2014 16:30</c:v>
                </c:pt>
                <c:pt idx="2432">
                  <c:v>12/10/2014 16:31</c:v>
                </c:pt>
                <c:pt idx="2433">
                  <c:v>12/10/2014 16:32</c:v>
                </c:pt>
                <c:pt idx="2434">
                  <c:v>12/10/2014 16:33</c:v>
                </c:pt>
                <c:pt idx="2435">
                  <c:v>12/10/2014 16:34</c:v>
                </c:pt>
                <c:pt idx="2436">
                  <c:v>12/10/2014 16:35</c:v>
                </c:pt>
                <c:pt idx="2437">
                  <c:v>12/10/2014 16:36</c:v>
                </c:pt>
                <c:pt idx="2438">
                  <c:v>12/10/2014 16:37</c:v>
                </c:pt>
                <c:pt idx="2439">
                  <c:v>12/10/2014 16:38</c:v>
                </c:pt>
                <c:pt idx="2440">
                  <c:v>12/10/2014 16:39</c:v>
                </c:pt>
                <c:pt idx="2441">
                  <c:v>12/10/2014 16:40</c:v>
                </c:pt>
                <c:pt idx="2442">
                  <c:v>12/10/2014 16:41</c:v>
                </c:pt>
                <c:pt idx="2443">
                  <c:v>12/10/2014 16:42</c:v>
                </c:pt>
                <c:pt idx="2444">
                  <c:v>12/10/2014 16:43</c:v>
                </c:pt>
                <c:pt idx="2445">
                  <c:v>12/10/2014 16:44</c:v>
                </c:pt>
                <c:pt idx="2446">
                  <c:v>12/10/2014 16:45</c:v>
                </c:pt>
                <c:pt idx="2447">
                  <c:v>12/10/2014 16:46</c:v>
                </c:pt>
                <c:pt idx="2448">
                  <c:v>12/10/2014 16:47</c:v>
                </c:pt>
                <c:pt idx="2449">
                  <c:v>12/10/2014 16:48</c:v>
                </c:pt>
                <c:pt idx="2450">
                  <c:v>12/10/2014 16:49</c:v>
                </c:pt>
                <c:pt idx="2451">
                  <c:v>12/10/2014 16:50</c:v>
                </c:pt>
                <c:pt idx="2452">
                  <c:v>12/10/2014 16:51</c:v>
                </c:pt>
              </c:strCache>
            </c:strRef>
          </c:cat>
          <c:val>
            <c:numRef>
              <c:f>'[1679498136_Statistics_Case_Study_Student_Reference_22032023.xlsx]DRT Rolling Stdev'!$G$2:$G$2454</c:f>
              <c:numCache>
                <c:formatCode>#,##0.00</c:formatCode>
                <c:ptCount val="2453"/>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4-606E-47FF-A81B-8D4EB62255C2}"/>
            </c:ext>
          </c:extLst>
        </c:ser>
        <c:ser>
          <c:idx val="6"/>
          <c:order val="6"/>
          <c:tx>
            <c:strRef>
              <c:f>'[1679498136_Statistics_Case_Study_Student_Reference_22032023.xlsx]DRT Rolling Stdev'!$I$1</c:f>
              <c:strCache>
                <c:ptCount val="1"/>
                <c:pt idx="0">
                  <c:v>Pump Efficiency</c:v>
                </c:pt>
              </c:strCache>
            </c:strRef>
          </c:tx>
          <c:spPr>
            <a:ln w="28575" cap="rnd">
              <a:solidFill>
                <a:schemeClr val="accent1">
                  <a:lumMod val="60000"/>
                </a:schemeClr>
              </a:solidFill>
              <a:round/>
            </a:ln>
            <a:effectLst/>
          </c:spPr>
          <c:marker>
            <c:symbol val="none"/>
          </c:marker>
          <c:cat>
            <c:strRef>
              <c:f>'[1679498136_Statistics_Case_Study_Student_Reference_22032023.xlsx]DRT Rolling Stdev'!$B:$B</c:f>
              <c:strCache>
                <c:ptCount val="2453"/>
                <c:pt idx="0">
                  <c:v>TIMEFRAME (DD/MM/YYYY)</c:v>
                </c:pt>
                <c:pt idx="1">
                  <c:v>12/9/2014 0:00</c:v>
                </c:pt>
                <c:pt idx="2">
                  <c:v>12/9/2014 0:01</c:v>
                </c:pt>
                <c:pt idx="3">
                  <c:v>12/9/2014 0:02</c:v>
                </c:pt>
                <c:pt idx="4">
                  <c:v>12/9/2014 0:03</c:v>
                </c:pt>
                <c:pt idx="5">
                  <c:v>12/9/2014 0:04</c:v>
                </c:pt>
                <c:pt idx="6">
                  <c:v>12/9/2014 0:05</c:v>
                </c:pt>
                <c:pt idx="7">
                  <c:v>12/9/2014 0:06</c:v>
                </c:pt>
                <c:pt idx="8">
                  <c:v>12/9/2014 0:07</c:v>
                </c:pt>
                <c:pt idx="9">
                  <c:v>12/9/2014 0:08</c:v>
                </c:pt>
                <c:pt idx="10">
                  <c:v>12/9/2014 0:09</c:v>
                </c:pt>
                <c:pt idx="11">
                  <c:v>12/9/2014 0:10</c:v>
                </c:pt>
                <c:pt idx="12">
                  <c:v>12/9/2014 0:11</c:v>
                </c:pt>
                <c:pt idx="13">
                  <c:v>12/9/2014 0:12</c:v>
                </c:pt>
                <c:pt idx="14">
                  <c:v>12/9/2014 0:13</c:v>
                </c:pt>
                <c:pt idx="15">
                  <c:v>12/9/2014 0:14</c:v>
                </c:pt>
                <c:pt idx="16">
                  <c:v>12/9/2014 0:15</c:v>
                </c:pt>
                <c:pt idx="17">
                  <c:v>12/9/2014 0:16</c:v>
                </c:pt>
                <c:pt idx="18">
                  <c:v>12/9/2014 0:17</c:v>
                </c:pt>
                <c:pt idx="19">
                  <c:v>12/9/2014 0:18</c:v>
                </c:pt>
                <c:pt idx="20">
                  <c:v>12/9/2014 0:19</c:v>
                </c:pt>
                <c:pt idx="21">
                  <c:v>12/9/2014 0:20</c:v>
                </c:pt>
                <c:pt idx="22">
                  <c:v>12/9/2014 0:21</c:v>
                </c:pt>
                <c:pt idx="23">
                  <c:v>12/9/2014 0:22</c:v>
                </c:pt>
                <c:pt idx="24">
                  <c:v>12/9/2014 0:23</c:v>
                </c:pt>
                <c:pt idx="25">
                  <c:v>12/9/2014 0:24</c:v>
                </c:pt>
                <c:pt idx="26">
                  <c:v>12/9/2014 0:25</c:v>
                </c:pt>
                <c:pt idx="27">
                  <c:v>12/9/2014 0:26</c:v>
                </c:pt>
                <c:pt idx="28">
                  <c:v>12/9/2014 0:27</c:v>
                </c:pt>
                <c:pt idx="29">
                  <c:v>12/9/2014 0:28</c:v>
                </c:pt>
                <c:pt idx="30">
                  <c:v>12/9/2014 0:29</c:v>
                </c:pt>
                <c:pt idx="31">
                  <c:v>12/9/2014 0:30</c:v>
                </c:pt>
                <c:pt idx="32">
                  <c:v>12/9/2014 0:31</c:v>
                </c:pt>
                <c:pt idx="33">
                  <c:v>12/9/2014 0:32</c:v>
                </c:pt>
                <c:pt idx="34">
                  <c:v>12/9/2014 0:33</c:v>
                </c:pt>
                <c:pt idx="35">
                  <c:v>12/9/2014 0:34</c:v>
                </c:pt>
                <c:pt idx="36">
                  <c:v>12/9/2014 0:35</c:v>
                </c:pt>
                <c:pt idx="37">
                  <c:v>12/9/2014 0:36</c:v>
                </c:pt>
                <c:pt idx="38">
                  <c:v>12/9/2014 0:37</c:v>
                </c:pt>
                <c:pt idx="39">
                  <c:v>12/9/2014 0:38</c:v>
                </c:pt>
                <c:pt idx="40">
                  <c:v>12/9/2014 0:39</c:v>
                </c:pt>
                <c:pt idx="41">
                  <c:v>12/9/2014 0:40</c:v>
                </c:pt>
                <c:pt idx="42">
                  <c:v>12/9/2014 0:41</c:v>
                </c:pt>
                <c:pt idx="43">
                  <c:v>12/9/2014 0:42</c:v>
                </c:pt>
                <c:pt idx="44">
                  <c:v>12/9/2014 0:43</c:v>
                </c:pt>
                <c:pt idx="45">
                  <c:v>12/9/2014 0:44</c:v>
                </c:pt>
                <c:pt idx="46">
                  <c:v>12/9/2014 0:45</c:v>
                </c:pt>
                <c:pt idx="47">
                  <c:v>12/9/2014 0:46</c:v>
                </c:pt>
                <c:pt idx="48">
                  <c:v>12/9/2014 0:47</c:v>
                </c:pt>
                <c:pt idx="49">
                  <c:v>12/9/2014 0:48</c:v>
                </c:pt>
                <c:pt idx="50">
                  <c:v>12/9/2014 0:49</c:v>
                </c:pt>
                <c:pt idx="51">
                  <c:v>12/9/2014 0:50</c:v>
                </c:pt>
                <c:pt idx="52">
                  <c:v>12/9/2014 0:51</c:v>
                </c:pt>
                <c:pt idx="53">
                  <c:v>12/9/2014 0:52</c:v>
                </c:pt>
                <c:pt idx="54">
                  <c:v>12/9/2014 0:53</c:v>
                </c:pt>
                <c:pt idx="55">
                  <c:v>12/9/2014 0:54</c:v>
                </c:pt>
                <c:pt idx="56">
                  <c:v>12/9/2014 0:55</c:v>
                </c:pt>
                <c:pt idx="57">
                  <c:v>12/9/2014 0:56</c:v>
                </c:pt>
                <c:pt idx="58">
                  <c:v>12/9/2014 0:57</c:v>
                </c:pt>
                <c:pt idx="59">
                  <c:v>12/9/2014 0:58</c:v>
                </c:pt>
                <c:pt idx="60">
                  <c:v>12/9/2014 0:59</c:v>
                </c:pt>
                <c:pt idx="61">
                  <c:v>12/9/2014 1:00</c:v>
                </c:pt>
                <c:pt idx="62">
                  <c:v>12/9/2014 1:01</c:v>
                </c:pt>
                <c:pt idx="63">
                  <c:v>12/9/2014 1:02</c:v>
                </c:pt>
                <c:pt idx="64">
                  <c:v>12/9/2014 1:03</c:v>
                </c:pt>
                <c:pt idx="65">
                  <c:v>12/9/2014 1:04</c:v>
                </c:pt>
                <c:pt idx="66">
                  <c:v>12/9/2014 1:05</c:v>
                </c:pt>
                <c:pt idx="67">
                  <c:v>12/9/2014 1:06</c:v>
                </c:pt>
                <c:pt idx="68">
                  <c:v>12/9/2014 1:07</c:v>
                </c:pt>
                <c:pt idx="69">
                  <c:v>12/9/2014 1:08</c:v>
                </c:pt>
                <c:pt idx="70">
                  <c:v>12/9/2014 1:09</c:v>
                </c:pt>
                <c:pt idx="71">
                  <c:v>12/9/2014 1:10</c:v>
                </c:pt>
                <c:pt idx="72">
                  <c:v>12/9/2014 1:11</c:v>
                </c:pt>
                <c:pt idx="73">
                  <c:v>12/9/2014 1:12</c:v>
                </c:pt>
                <c:pt idx="74">
                  <c:v>12/9/2014 1:13</c:v>
                </c:pt>
                <c:pt idx="75">
                  <c:v>12/9/2014 1:14</c:v>
                </c:pt>
                <c:pt idx="76">
                  <c:v>12/9/2014 1:15</c:v>
                </c:pt>
                <c:pt idx="77">
                  <c:v>12/9/2014 1:16</c:v>
                </c:pt>
                <c:pt idx="78">
                  <c:v>12/9/2014 1:17</c:v>
                </c:pt>
                <c:pt idx="79">
                  <c:v>12/9/2014 1:18</c:v>
                </c:pt>
                <c:pt idx="80">
                  <c:v>12/9/2014 1:19</c:v>
                </c:pt>
                <c:pt idx="81">
                  <c:v>12/9/2014 1:20</c:v>
                </c:pt>
                <c:pt idx="82">
                  <c:v>12/9/2014 1:21</c:v>
                </c:pt>
                <c:pt idx="83">
                  <c:v>12/9/2014 1:22</c:v>
                </c:pt>
                <c:pt idx="84">
                  <c:v>12/9/2014 1:23</c:v>
                </c:pt>
                <c:pt idx="85">
                  <c:v>12/9/2014 1:24</c:v>
                </c:pt>
                <c:pt idx="86">
                  <c:v>12/9/2014 1:25</c:v>
                </c:pt>
                <c:pt idx="87">
                  <c:v>12/9/2014 1:26</c:v>
                </c:pt>
                <c:pt idx="88">
                  <c:v>12/9/2014 1:27</c:v>
                </c:pt>
                <c:pt idx="89">
                  <c:v>12/9/2014 1:28</c:v>
                </c:pt>
                <c:pt idx="90">
                  <c:v>12/9/2014 1:29</c:v>
                </c:pt>
                <c:pt idx="91">
                  <c:v>12/9/2014 1:30</c:v>
                </c:pt>
                <c:pt idx="92">
                  <c:v>12/9/2014 1:31</c:v>
                </c:pt>
                <c:pt idx="93">
                  <c:v>12/9/2014 1:32</c:v>
                </c:pt>
                <c:pt idx="94">
                  <c:v>12/9/2014 1:33</c:v>
                </c:pt>
                <c:pt idx="95">
                  <c:v>12/9/2014 1:34</c:v>
                </c:pt>
                <c:pt idx="96">
                  <c:v>12/9/2014 1:35</c:v>
                </c:pt>
                <c:pt idx="97">
                  <c:v>12/9/2014 1:36</c:v>
                </c:pt>
                <c:pt idx="98">
                  <c:v>12/9/2014 1:37</c:v>
                </c:pt>
                <c:pt idx="99">
                  <c:v>12/9/2014 1:38</c:v>
                </c:pt>
                <c:pt idx="100">
                  <c:v>12/9/2014 1:39</c:v>
                </c:pt>
                <c:pt idx="101">
                  <c:v>12/9/2014 1:40</c:v>
                </c:pt>
                <c:pt idx="102">
                  <c:v>12/9/2014 1:41</c:v>
                </c:pt>
                <c:pt idx="103">
                  <c:v>12/9/2014 1:42</c:v>
                </c:pt>
                <c:pt idx="104">
                  <c:v>12/9/2014 1:43</c:v>
                </c:pt>
                <c:pt idx="105">
                  <c:v>12/9/2014 1:44</c:v>
                </c:pt>
                <c:pt idx="106">
                  <c:v>12/9/2014 1:45</c:v>
                </c:pt>
                <c:pt idx="107">
                  <c:v>12/9/2014 1:46</c:v>
                </c:pt>
                <c:pt idx="108">
                  <c:v>12/9/2014 1:47</c:v>
                </c:pt>
                <c:pt idx="109">
                  <c:v>12/9/2014 1:48</c:v>
                </c:pt>
                <c:pt idx="110">
                  <c:v>12/9/2014 1:49</c:v>
                </c:pt>
                <c:pt idx="111">
                  <c:v>12/9/2014 1:50</c:v>
                </c:pt>
                <c:pt idx="112">
                  <c:v>12/9/2014 1:51</c:v>
                </c:pt>
                <c:pt idx="113">
                  <c:v>12/9/2014 1:52</c:v>
                </c:pt>
                <c:pt idx="114">
                  <c:v>12/9/2014 1:53</c:v>
                </c:pt>
                <c:pt idx="115">
                  <c:v>12/9/2014 1:54</c:v>
                </c:pt>
                <c:pt idx="116">
                  <c:v>12/9/2014 1:55</c:v>
                </c:pt>
                <c:pt idx="117">
                  <c:v>12/9/2014 1:56</c:v>
                </c:pt>
                <c:pt idx="118">
                  <c:v>12/9/2014 1:57</c:v>
                </c:pt>
                <c:pt idx="119">
                  <c:v>12/9/2014 1:58</c:v>
                </c:pt>
                <c:pt idx="120">
                  <c:v>12/9/2014 1:59</c:v>
                </c:pt>
                <c:pt idx="121">
                  <c:v>12/9/2014 2:00</c:v>
                </c:pt>
                <c:pt idx="122">
                  <c:v>12/9/2014 2:01</c:v>
                </c:pt>
                <c:pt idx="123">
                  <c:v>12/9/2014 2:02</c:v>
                </c:pt>
                <c:pt idx="124">
                  <c:v>12/9/2014 2:03</c:v>
                </c:pt>
                <c:pt idx="125">
                  <c:v>12/9/2014 2:04</c:v>
                </c:pt>
                <c:pt idx="126">
                  <c:v>12/9/2014 2:05</c:v>
                </c:pt>
                <c:pt idx="127">
                  <c:v>12/9/2014 2:06</c:v>
                </c:pt>
                <c:pt idx="128">
                  <c:v>12/9/2014 2:07</c:v>
                </c:pt>
                <c:pt idx="129">
                  <c:v>12/9/2014 2:08</c:v>
                </c:pt>
                <c:pt idx="130">
                  <c:v>12/9/2014 2:09</c:v>
                </c:pt>
                <c:pt idx="131">
                  <c:v>12/9/2014 2:10</c:v>
                </c:pt>
                <c:pt idx="132">
                  <c:v>12/9/2014 2:11</c:v>
                </c:pt>
                <c:pt idx="133">
                  <c:v>12/9/2014 2:12</c:v>
                </c:pt>
                <c:pt idx="134">
                  <c:v>12/9/2014 2:13</c:v>
                </c:pt>
                <c:pt idx="135">
                  <c:v>12/9/2014 2:14</c:v>
                </c:pt>
                <c:pt idx="136">
                  <c:v>12/9/2014 2:15</c:v>
                </c:pt>
                <c:pt idx="137">
                  <c:v>12/9/2014 2:16</c:v>
                </c:pt>
                <c:pt idx="138">
                  <c:v>12/9/2014 2:17</c:v>
                </c:pt>
                <c:pt idx="139">
                  <c:v>12/9/2014 2:18</c:v>
                </c:pt>
                <c:pt idx="140">
                  <c:v>12/9/2014 2:19</c:v>
                </c:pt>
                <c:pt idx="141">
                  <c:v>12/9/2014 2:20</c:v>
                </c:pt>
                <c:pt idx="142">
                  <c:v>12/9/2014 2:21</c:v>
                </c:pt>
                <c:pt idx="143">
                  <c:v>12/9/2014 2:22</c:v>
                </c:pt>
                <c:pt idx="144">
                  <c:v>12/9/2014 2:23</c:v>
                </c:pt>
                <c:pt idx="145">
                  <c:v>12/9/2014 2:24</c:v>
                </c:pt>
                <c:pt idx="146">
                  <c:v>12/9/2014 2:25</c:v>
                </c:pt>
                <c:pt idx="147">
                  <c:v>12/9/2014 2:26</c:v>
                </c:pt>
                <c:pt idx="148">
                  <c:v>12/9/2014 2:27</c:v>
                </c:pt>
                <c:pt idx="149">
                  <c:v>12/9/2014 2:28</c:v>
                </c:pt>
                <c:pt idx="150">
                  <c:v>12/9/2014 2:29</c:v>
                </c:pt>
                <c:pt idx="151">
                  <c:v>12/9/2014 2:30</c:v>
                </c:pt>
                <c:pt idx="152">
                  <c:v>12/9/2014 2:31</c:v>
                </c:pt>
                <c:pt idx="153">
                  <c:v>12/9/2014 2:32</c:v>
                </c:pt>
                <c:pt idx="154">
                  <c:v>12/9/2014 2:33</c:v>
                </c:pt>
                <c:pt idx="155">
                  <c:v>12/9/2014 2:34</c:v>
                </c:pt>
                <c:pt idx="156">
                  <c:v>12/9/2014 2:35</c:v>
                </c:pt>
                <c:pt idx="157">
                  <c:v>12/9/2014 2:36</c:v>
                </c:pt>
                <c:pt idx="158">
                  <c:v>12/9/2014 2:37</c:v>
                </c:pt>
                <c:pt idx="159">
                  <c:v>12/9/2014 2:38</c:v>
                </c:pt>
                <c:pt idx="160">
                  <c:v>12/9/2014 2:39</c:v>
                </c:pt>
                <c:pt idx="161">
                  <c:v>12/9/2014 2:40</c:v>
                </c:pt>
                <c:pt idx="162">
                  <c:v>12/9/2014 2:41</c:v>
                </c:pt>
                <c:pt idx="163">
                  <c:v>12/9/2014 2:42</c:v>
                </c:pt>
                <c:pt idx="164">
                  <c:v>12/9/2014 2:43</c:v>
                </c:pt>
                <c:pt idx="165">
                  <c:v>12/9/2014 2:44</c:v>
                </c:pt>
                <c:pt idx="166">
                  <c:v>12/9/2014 2:45</c:v>
                </c:pt>
                <c:pt idx="167">
                  <c:v>12/9/2014 2:46</c:v>
                </c:pt>
                <c:pt idx="168">
                  <c:v>12/9/2014 2:47</c:v>
                </c:pt>
                <c:pt idx="169">
                  <c:v>12/9/2014 2:48</c:v>
                </c:pt>
                <c:pt idx="170">
                  <c:v>12/9/2014 2:49</c:v>
                </c:pt>
                <c:pt idx="171">
                  <c:v>12/9/2014 2:50</c:v>
                </c:pt>
                <c:pt idx="172">
                  <c:v>12/9/2014 2:51</c:v>
                </c:pt>
                <c:pt idx="173">
                  <c:v>12/9/2014 2:52</c:v>
                </c:pt>
                <c:pt idx="174">
                  <c:v>12/9/2014 2:53</c:v>
                </c:pt>
                <c:pt idx="175">
                  <c:v>12/9/2014 2:54</c:v>
                </c:pt>
                <c:pt idx="176">
                  <c:v>12/9/2014 2:55</c:v>
                </c:pt>
                <c:pt idx="177">
                  <c:v>12/9/2014 2:56</c:v>
                </c:pt>
                <c:pt idx="178">
                  <c:v>12/9/2014 2:57</c:v>
                </c:pt>
                <c:pt idx="179">
                  <c:v>12/9/2014 2:58</c:v>
                </c:pt>
                <c:pt idx="180">
                  <c:v>12/9/2014 2:59</c:v>
                </c:pt>
                <c:pt idx="181">
                  <c:v>12/9/2014 3:00</c:v>
                </c:pt>
                <c:pt idx="182">
                  <c:v>12/9/2014 3:01</c:v>
                </c:pt>
                <c:pt idx="183">
                  <c:v>12/9/2014 3:02</c:v>
                </c:pt>
                <c:pt idx="184">
                  <c:v>12/9/2014 3:03</c:v>
                </c:pt>
                <c:pt idx="185">
                  <c:v>12/9/2014 3:04</c:v>
                </c:pt>
                <c:pt idx="186">
                  <c:v>12/9/2014 3:05</c:v>
                </c:pt>
                <c:pt idx="187">
                  <c:v>12/9/2014 3:06</c:v>
                </c:pt>
                <c:pt idx="188">
                  <c:v>12/9/2014 3:07</c:v>
                </c:pt>
                <c:pt idx="189">
                  <c:v>12/9/2014 3:08</c:v>
                </c:pt>
                <c:pt idx="190">
                  <c:v>12/9/2014 3:09</c:v>
                </c:pt>
                <c:pt idx="191">
                  <c:v>12/9/2014 3:10</c:v>
                </c:pt>
                <c:pt idx="192">
                  <c:v>12/9/2014 3:11</c:v>
                </c:pt>
                <c:pt idx="193">
                  <c:v>12/9/2014 3:12</c:v>
                </c:pt>
                <c:pt idx="194">
                  <c:v>12/9/2014 3:13</c:v>
                </c:pt>
                <c:pt idx="195">
                  <c:v>12/9/2014 3:14</c:v>
                </c:pt>
                <c:pt idx="196">
                  <c:v>12/9/2014 3:15</c:v>
                </c:pt>
                <c:pt idx="197">
                  <c:v>12/9/2014 3:16</c:v>
                </c:pt>
                <c:pt idx="198">
                  <c:v>12/9/2014 3:17</c:v>
                </c:pt>
                <c:pt idx="199">
                  <c:v>12/9/2014 3:18</c:v>
                </c:pt>
                <c:pt idx="200">
                  <c:v>12/9/2014 3:19</c:v>
                </c:pt>
                <c:pt idx="201">
                  <c:v>12/9/2014 3:20</c:v>
                </c:pt>
                <c:pt idx="202">
                  <c:v>12/9/2014 3:21</c:v>
                </c:pt>
                <c:pt idx="203">
                  <c:v>12/9/2014 3:22</c:v>
                </c:pt>
                <c:pt idx="204">
                  <c:v>12/9/2014 3:23</c:v>
                </c:pt>
                <c:pt idx="205">
                  <c:v>12/9/2014 3:24</c:v>
                </c:pt>
                <c:pt idx="206">
                  <c:v>12/9/2014 3:25</c:v>
                </c:pt>
                <c:pt idx="207">
                  <c:v>12/9/2014 3:26</c:v>
                </c:pt>
                <c:pt idx="208">
                  <c:v>12/9/2014 3:27</c:v>
                </c:pt>
                <c:pt idx="209">
                  <c:v>12/9/2014 3:28</c:v>
                </c:pt>
                <c:pt idx="210">
                  <c:v>12/9/2014 3:29</c:v>
                </c:pt>
                <c:pt idx="211">
                  <c:v>12/9/2014 3:30</c:v>
                </c:pt>
                <c:pt idx="212">
                  <c:v>12/9/2014 3:31</c:v>
                </c:pt>
                <c:pt idx="213">
                  <c:v>12/9/2014 3:32</c:v>
                </c:pt>
                <c:pt idx="214">
                  <c:v>12/9/2014 3:33</c:v>
                </c:pt>
                <c:pt idx="215">
                  <c:v>12/9/2014 3:34</c:v>
                </c:pt>
                <c:pt idx="216">
                  <c:v>12/9/2014 3:35</c:v>
                </c:pt>
                <c:pt idx="217">
                  <c:v>12/9/2014 3:36</c:v>
                </c:pt>
                <c:pt idx="218">
                  <c:v>12/9/2014 3:37</c:v>
                </c:pt>
                <c:pt idx="219">
                  <c:v>12/9/2014 3:38</c:v>
                </c:pt>
                <c:pt idx="220">
                  <c:v>12/9/2014 3:39</c:v>
                </c:pt>
                <c:pt idx="221">
                  <c:v>12/9/2014 3:40</c:v>
                </c:pt>
                <c:pt idx="222">
                  <c:v>12/9/2014 3:41</c:v>
                </c:pt>
                <c:pt idx="223">
                  <c:v>12/9/2014 3:42</c:v>
                </c:pt>
                <c:pt idx="224">
                  <c:v>12/9/2014 3:43</c:v>
                </c:pt>
                <c:pt idx="225">
                  <c:v>12/9/2014 3:44</c:v>
                </c:pt>
                <c:pt idx="226">
                  <c:v>12/9/2014 3:45</c:v>
                </c:pt>
                <c:pt idx="227">
                  <c:v>12/9/2014 3:46</c:v>
                </c:pt>
                <c:pt idx="228">
                  <c:v>12/9/2014 3:47</c:v>
                </c:pt>
                <c:pt idx="229">
                  <c:v>12/9/2014 3:48</c:v>
                </c:pt>
                <c:pt idx="230">
                  <c:v>12/9/2014 3:49</c:v>
                </c:pt>
                <c:pt idx="231">
                  <c:v>12/9/2014 3:50</c:v>
                </c:pt>
                <c:pt idx="232">
                  <c:v>12/9/2014 3:51</c:v>
                </c:pt>
                <c:pt idx="233">
                  <c:v>12/9/2014 3:52</c:v>
                </c:pt>
                <c:pt idx="234">
                  <c:v>12/9/2014 3:53</c:v>
                </c:pt>
                <c:pt idx="235">
                  <c:v>12/9/2014 3:54</c:v>
                </c:pt>
                <c:pt idx="236">
                  <c:v>12/9/2014 3:55</c:v>
                </c:pt>
                <c:pt idx="237">
                  <c:v>12/9/2014 3:56</c:v>
                </c:pt>
                <c:pt idx="238">
                  <c:v>12/9/2014 3:57</c:v>
                </c:pt>
                <c:pt idx="239">
                  <c:v>12/9/2014 3:58</c:v>
                </c:pt>
                <c:pt idx="240">
                  <c:v>12/9/2014 3:59</c:v>
                </c:pt>
                <c:pt idx="241">
                  <c:v>12/9/2014 4:00</c:v>
                </c:pt>
                <c:pt idx="242">
                  <c:v>12/9/2014 4:01</c:v>
                </c:pt>
                <c:pt idx="243">
                  <c:v>12/9/2014 4:02</c:v>
                </c:pt>
                <c:pt idx="244">
                  <c:v>12/9/2014 4:03</c:v>
                </c:pt>
                <c:pt idx="245">
                  <c:v>12/9/2014 4:04</c:v>
                </c:pt>
                <c:pt idx="246">
                  <c:v>12/9/2014 4:05</c:v>
                </c:pt>
                <c:pt idx="247">
                  <c:v>12/9/2014 4:06</c:v>
                </c:pt>
                <c:pt idx="248">
                  <c:v>12/9/2014 4:07</c:v>
                </c:pt>
                <c:pt idx="249">
                  <c:v>12/9/2014 4:08</c:v>
                </c:pt>
                <c:pt idx="250">
                  <c:v>12/9/2014 4:09</c:v>
                </c:pt>
                <c:pt idx="251">
                  <c:v>12/9/2014 4:10</c:v>
                </c:pt>
                <c:pt idx="252">
                  <c:v>12/9/2014 4:11</c:v>
                </c:pt>
                <c:pt idx="253">
                  <c:v>12/9/2014 4:12</c:v>
                </c:pt>
                <c:pt idx="254">
                  <c:v>12/9/2014 4:13</c:v>
                </c:pt>
                <c:pt idx="255">
                  <c:v>12/9/2014 4:14</c:v>
                </c:pt>
                <c:pt idx="256">
                  <c:v>12/9/2014 4:15</c:v>
                </c:pt>
                <c:pt idx="257">
                  <c:v>12/9/2014 4:16</c:v>
                </c:pt>
                <c:pt idx="258">
                  <c:v>12/9/2014 4:17</c:v>
                </c:pt>
                <c:pt idx="259">
                  <c:v>12/9/2014 4:18</c:v>
                </c:pt>
                <c:pt idx="260">
                  <c:v>12/9/2014 4:19</c:v>
                </c:pt>
                <c:pt idx="261">
                  <c:v>12/9/2014 4:20</c:v>
                </c:pt>
                <c:pt idx="262">
                  <c:v>12/9/2014 4:21</c:v>
                </c:pt>
                <c:pt idx="263">
                  <c:v>12/9/2014 4:22</c:v>
                </c:pt>
                <c:pt idx="264">
                  <c:v>12/9/2014 4:23</c:v>
                </c:pt>
                <c:pt idx="265">
                  <c:v>12/9/2014 4:24</c:v>
                </c:pt>
                <c:pt idx="266">
                  <c:v>12/9/2014 4:25</c:v>
                </c:pt>
                <c:pt idx="267">
                  <c:v>12/9/2014 4:26</c:v>
                </c:pt>
                <c:pt idx="268">
                  <c:v>12/9/2014 4:27</c:v>
                </c:pt>
                <c:pt idx="269">
                  <c:v>12/9/2014 4:28</c:v>
                </c:pt>
                <c:pt idx="270">
                  <c:v>12/9/2014 4:29</c:v>
                </c:pt>
                <c:pt idx="271">
                  <c:v>12/9/2014 4:30</c:v>
                </c:pt>
                <c:pt idx="272">
                  <c:v>12/9/2014 4:31</c:v>
                </c:pt>
                <c:pt idx="273">
                  <c:v>12/9/2014 4:32</c:v>
                </c:pt>
                <c:pt idx="274">
                  <c:v>12/9/2014 4:33</c:v>
                </c:pt>
                <c:pt idx="275">
                  <c:v>12/9/2014 4:34</c:v>
                </c:pt>
                <c:pt idx="276">
                  <c:v>12/9/2014 4:35</c:v>
                </c:pt>
                <c:pt idx="277">
                  <c:v>12/9/2014 4:36</c:v>
                </c:pt>
                <c:pt idx="278">
                  <c:v>12/9/2014 4:37</c:v>
                </c:pt>
                <c:pt idx="279">
                  <c:v>12/9/2014 4:38</c:v>
                </c:pt>
                <c:pt idx="280">
                  <c:v>12/9/2014 4:39</c:v>
                </c:pt>
                <c:pt idx="281">
                  <c:v>12/9/2014 4:40</c:v>
                </c:pt>
                <c:pt idx="282">
                  <c:v>12/9/2014 4:41</c:v>
                </c:pt>
                <c:pt idx="283">
                  <c:v>12/9/2014 4:42</c:v>
                </c:pt>
                <c:pt idx="284">
                  <c:v>12/9/2014 4:43</c:v>
                </c:pt>
                <c:pt idx="285">
                  <c:v>12/9/2014 4:44</c:v>
                </c:pt>
                <c:pt idx="286">
                  <c:v>12/9/2014 4:45</c:v>
                </c:pt>
                <c:pt idx="287">
                  <c:v>12/9/2014 4:46</c:v>
                </c:pt>
                <c:pt idx="288">
                  <c:v>12/9/2014 4:47</c:v>
                </c:pt>
                <c:pt idx="289">
                  <c:v>12/9/2014 4:48</c:v>
                </c:pt>
                <c:pt idx="290">
                  <c:v>12/9/2014 4:49</c:v>
                </c:pt>
                <c:pt idx="291">
                  <c:v>12/9/2014 4:50</c:v>
                </c:pt>
                <c:pt idx="292">
                  <c:v>12/9/2014 4:51</c:v>
                </c:pt>
                <c:pt idx="293">
                  <c:v>12/9/2014 4:52</c:v>
                </c:pt>
                <c:pt idx="294">
                  <c:v>12/9/2014 4:53</c:v>
                </c:pt>
                <c:pt idx="295">
                  <c:v>12/9/2014 4:54</c:v>
                </c:pt>
                <c:pt idx="296">
                  <c:v>12/9/2014 4:55</c:v>
                </c:pt>
                <c:pt idx="297">
                  <c:v>12/9/2014 4:56</c:v>
                </c:pt>
                <c:pt idx="298">
                  <c:v>12/9/2014 4:57</c:v>
                </c:pt>
                <c:pt idx="299">
                  <c:v>12/9/2014 4:58</c:v>
                </c:pt>
                <c:pt idx="300">
                  <c:v>12/9/2014 4:59</c:v>
                </c:pt>
                <c:pt idx="301">
                  <c:v>12/9/2014 5:00</c:v>
                </c:pt>
                <c:pt idx="302">
                  <c:v>12/9/2014 5:01</c:v>
                </c:pt>
                <c:pt idx="303">
                  <c:v>12/9/2014 5:02</c:v>
                </c:pt>
                <c:pt idx="304">
                  <c:v>12/9/2014 5:03</c:v>
                </c:pt>
                <c:pt idx="305">
                  <c:v>12/9/2014 5:04</c:v>
                </c:pt>
                <c:pt idx="306">
                  <c:v>12/9/2014 5:05</c:v>
                </c:pt>
                <c:pt idx="307">
                  <c:v>12/9/2014 5:06</c:v>
                </c:pt>
                <c:pt idx="308">
                  <c:v>12/9/2014 5:07</c:v>
                </c:pt>
                <c:pt idx="309">
                  <c:v>12/9/2014 5:08</c:v>
                </c:pt>
                <c:pt idx="310">
                  <c:v>12/9/2014 5:09</c:v>
                </c:pt>
                <c:pt idx="311">
                  <c:v>12/9/2014 5:10</c:v>
                </c:pt>
                <c:pt idx="312">
                  <c:v>12/9/2014 5:11</c:v>
                </c:pt>
                <c:pt idx="313">
                  <c:v>12/9/2014 5:12</c:v>
                </c:pt>
                <c:pt idx="314">
                  <c:v>12/9/2014 5:13</c:v>
                </c:pt>
                <c:pt idx="315">
                  <c:v>12/9/2014 5:14</c:v>
                </c:pt>
                <c:pt idx="316">
                  <c:v>12/9/2014 5:15</c:v>
                </c:pt>
                <c:pt idx="317">
                  <c:v>12/9/2014 5:16</c:v>
                </c:pt>
                <c:pt idx="318">
                  <c:v>12/9/2014 5:17</c:v>
                </c:pt>
                <c:pt idx="319">
                  <c:v>12/9/2014 5:18</c:v>
                </c:pt>
                <c:pt idx="320">
                  <c:v>12/9/2014 5:19</c:v>
                </c:pt>
                <c:pt idx="321">
                  <c:v>12/9/2014 5:20</c:v>
                </c:pt>
                <c:pt idx="322">
                  <c:v>12/9/2014 5:21</c:v>
                </c:pt>
                <c:pt idx="323">
                  <c:v>12/9/2014 5:22</c:v>
                </c:pt>
                <c:pt idx="324">
                  <c:v>12/9/2014 5:23</c:v>
                </c:pt>
                <c:pt idx="325">
                  <c:v>12/9/2014 5:24</c:v>
                </c:pt>
                <c:pt idx="326">
                  <c:v>12/9/2014 5:25</c:v>
                </c:pt>
                <c:pt idx="327">
                  <c:v>12/9/2014 5:26</c:v>
                </c:pt>
                <c:pt idx="328">
                  <c:v>12/9/2014 5:27</c:v>
                </c:pt>
                <c:pt idx="329">
                  <c:v>12/9/2014 5:28</c:v>
                </c:pt>
                <c:pt idx="330">
                  <c:v>12/9/2014 5:29</c:v>
                </c:pt>
                <c:pt idx="331">
                  <c:v>12/9/2014 5:30</c:v>
                </c:pt>
                <c:pt idx="332">
                  <c:v>12/9/2014 5:31</c:v>
                </c:pt>
                <c:pt idx="333">
                  <c:v>12/9/2014 5:32</c:v>
                </c:pt>
                <c:pt idx="334">
                  <c:v>12/9/2014 5:33</c:v>
                </c:pt>
                <c:pt idx="335">
                  <c:v>12/9/2014 5:34</c:v>
                </c:pt>
                <c:pt idx="336">
                  <c:v>12/9/2014 5:35</c:v>
                </c:pt>
                <c:pt idx="337">
                  <c:v>12/9/2014 5:36</c:v>
                </c:pt>
                <c:pt idx="338">
                  <c:v>12/9/2014 5:37</c:v>
                </c:pt>
                <c:pt idx="339">
                  <c:v>12/9/2014 5:38</c:v>
                </c:pt>
                <c:pt idx="340">
                  <c:v>12/9/2014 5:39</c:v>
                </c:pt>
                <c:pt idx="341">
                  <c:v>12/9/2014 5:40</c:v>
                </c:pt>
                <c:pt idx="342">
                  <c:v>12/9/2014 5:41</c:v>
                </c:pt>
                <c:pt idx="343">
                  <c:v>12/9/2014 5:42</c:v>
                </c:pt>
                <c:pt idx="344">
                  <c:v>12/9/2014 5:43</c:v>
                </c:pt>
                <c:pt idx="345">
                  <c:v>12/9/2014 5:44</c:v>
                </c:pt>
                <c:pt idx="346">
                  <c:v>12/9/2014 5:45</c:v>
                </c:pt>
                <c:pt idx="347">
                  <c:v>12/9/2014 5:46</c:v>
                </c:pt>
                <c:pt idx="348">
                  <c:v>12/9/2014 5:47</c:v>
                </c:pt>
                <c:pt idx="349">
                  <c:v>12/9/2014 5:48</c:v>
                </c:pt>
                <c:pt idx="350">
                  <c:v>12/9/2014 5:49</c:v>
                </c:pt>
                <c:pt idx="351">
                  <c:v>12/9/2014 5:50</c:v>
                </c:pt>
                <c:pt idx="352">
                  <c:v>12/9/2014 5:51</c:v>
                </c:pt>
                <c:pt idx="353">
                  <c:v>12/9/2014 5:52</c:v>
                </c:pt>
                <c:pt idx="354">
                  <c:v>12/9/2014 5:53</c:v>
                </c:pt>
                <c:pt idx="355">
                  <c:v>12/9/2014 5:54</c:v>
                </c:pt>
                <c:pt idx="356">
                  <c:v>12/9/2014 5:55</c:v>
                </c:pt>
                <c:pt idx="357">
                  <c:v>12/9/2014 5:56</c:v>
                </c:pt>
                <c:pt idx="358">
                  <c:v>12/9/2014 5:57</c:v>
                </c:pt>
                <c:pt idx="359">
                  <c:v>12/9/2014 5:58</c:v>
                </c:pt>
                <c:pt idx="360">
                  <c:v>12/9/2014 5:59</c:v>
                </c:pt>
                <c:pt idx="361">
                  <c:v>12/9/2014 6:00</c:v>
                </c:pt>
                <c:pt idx="362">
                  <c:v>12/9/2014 6:01</c:v>
                </c:pt>
                <c:pt idx="363">
                  <c:v>12/9/2014 6:02</c:v>
                </c:pt>
                <c:pt idx="364">
                  <c:v>12/9/2014 6:03</c:v>
                </c:pt>
                <c:pt idx="365">
                  <c:v>12/9/2014 6:04</c:v>
                </c:pt>
                <c:pt idx="366">
                  <c:v>12/9/2014 6:05</c:v>
                </c:pt>
                <c:pt idx="367">
                  <c:v>12/9/2014 6:06</c:v>
                </c:pt>
                <c:pt idx="368">
                  <c:v>12/9/2014 6:07</c:v>
                </c:pt>
                <c:pt idx="369">
                  <c:v>12/9/2014 6:08</c:v>
                </c:pt>
                <c:pt idx="370">
                  <c:v>12/9/2014 6:09</c:v>
                </c:pt>
                <c:pt idx="371">
                  <c:v>12/9/2014 6:10</c:v>
                </c:pt>
                <c:pt idx="372">
                  <c:v>12/9/2014 6:11</c:v>
                </c:pt>
                <c:pt idx="373">
                  <c:v>12/9/2014 6:12</c:v>
                </c:pt>
                <c:pt idx="374">
                  <c:v>12/9/2014 6:13</c:v>
                </c:pt>
                <c:pt idx="375">
                  <c:v>12/9/2014 6:14</c:v>
                </c:pt>
                <c:pt idx="376">
                  <c:v>12/9/2014 6:15</c:v>
                </c:pt>
                <c:pt idx="377">
                  <c:v>12/9/2014 6:16</c:v>
                </c:pt>
                <c:pt idx="378">
                  <c:v>12/9/2014 6:17</c:v>
                </c:pt>
                <c:pt idx="379">
                  <c:v>12/9/2014 6:18</c:v>
                </c:pt>
                <c:pt idx="380">
                  <c:v>12/9/2014 6:19</c:v>
                </c:pt>
                <c:pt idx="381">
                  <c:v>12/9/2014 6:20</c:v>
                </c:pt>
                <c:pt idx="382">
                  <c:v>12/9/2014 6:21</c:v>
                </c:pt>
                <c:pt idx="383">
                  <c:v>12/9/2014 6:22</c:v>
                </c:pt>
                <c:pt idx="384">
                  <c:v>12/9/2014 6:23</c:v>
                </c:pt>
                <c:pt idx="385">
                  <c:v>12/9/2014 6:24</c:v>
                </c:pt>
                <c:pt idx="386">
                  <c:v>12/9/2014 6:25</c:v>
                </c:pt>
                <c:pt idx="387">
                  <c:v>12/9/2014 6:26</c:v>
                </c:pt>
                <c:pt idx="388">
                  <c:v>12/9/2014 6:27</c:v>
                </c:pt>
                <c:pt idx="389">
                  <c:v>12/9/2014 6:28</c:v>
                </c:pt>
                <c:pt idx="390">
                  <c:v>12/9/2014 6:29</c:v>
                </c:pt>
                <c:pt idx="391">
                  <c:v>12/9/2014 6:30</c:v>
                </c:pt>
                <c:pt idx="392">
                  <c:v>12/9/2014 6:31</c:v>
                </c:pt>
                <c:pt idx="393">
                  <c:v>12/9/2014 6:32</c:v>
                </c:pt>
                <c:pt idx="394">
                  <c:v>12/9/2014 6:33</c:v>
                </c:pt>
                <c:pt idx="395">
                  <c:v>12/9/2014 6:34</c:v>
                </c:pt>
                <c:pt idx="396">
                  <c:v>12/9/2014 6:35</c:v>
                </c:pt>
                <c:pt idx="397">
                  <c:v>12/9/2014 6:36</c:v>
                </c:pt>
                <c:pt idx="398">
                  <c:v>12/9/2014 6:37</c:v>
                </c:pt>
                <c:pt idx="399">
                  <c:v>12/9/2014 6:38</c:v>
                </c:pt>
                <c:pt idx="400">
                  <c:v>12/9/2014 6:39</c:v>
                </c:pt>
                <c:pt idx="401">
                  <c:v>12/9/2014 6:40</c:v>
                </c:pt>
                <c:pt idx="402">
                  <c:v>12/9/2014 6:41</c:v>
                </c:pt>
                <c:pt idx="403">
                  <c:v>12/9/2014 6:42</c:v>
                </c:pt>
                <c:pt idx="404">
                  <c:v>12/9/2014 6:43</c:v>
                </c:pt>
                <c:pt idx="405">
                  <c:v>12/9/2014 6:44</c:v>
                </c:pt>
                <c:pt idx="406">
                  <c:v>12/9/2014 6:45</c:v>
                </c:pt>
                <c:pt idx="407">
                  <c:v>12/9/2014 6:46</c:v>
                </c:pt>
                <c:pt idx="408">
                  <c:v>12/9/2014 6:47</c:v>
                </c:pt>
                <c:pt idx="409">
                  <c:v>12/9/2014 6:48</c:v>
                </c:pt>
                <c:pt idx="410">
                  <c:v>12/9/2014 6:49</c:v>
                </c:pt>
                <c:pt idx="411">
                  <c:v>12/9/2014 6:50</c:v>
                </c:pt>
                <c:pt idx="412">
                  <c:v>12/9/2014 6:51</c:v>
                </c:pt>
                <c:pt idx="413">
                  <c:v>12/9/2014 6:52</c:v>
                </c:pt>
                <c:pt idx="414">
                  <c:v>12/9/2014 6:53</c:v>
                </c:pt>
                <c:pt idx="415">
                  <c:v>12/9/2014 6:54</c:v>
                </c:pt>
                <c:pt idx="416">
                  <c:v>12/9/2014 6:55</c:v>
                </c:pt>
                <c:pt idx="417">
                  <c:v>12/9/2014 6:56</c:v>
                </c:pt>
                <c:pt idx="418">
                  <c:v>12/9/2014 6:57</c:v>
                </c:pt>
                <c:pt idx="419">
                  <c:v>12/9/2014 6:58</c:v>
                </c:pt>
                <c:pt idx="420">
                  <c:v>12/9/2014 6:59</c:v>
                </c:pt>
                <c:pt idx="421">
                  <c:v>12/9/2014 7:00</c:v>
                </c:pt>
                <c:pt idx="422">
                  <c:v>12/9/2014 7:01</c:v>
                </c:pt>
                <c:pt idx="423">
                  <c:v>12/9/2014 7:02</c:v>
                </c:pt>
                <c:pt idx="424">
                  <c:v>12/9/2014 7:03</c:v>
                </c:pt>
                <c:pt idx="425">
                  <c:v>12/9/2014 7:04</c:v>
                </c:pt>
                <c:pt idx="426">
                  <c:v>12/9/2014 7:05</c:v>
                </c:pt>
                <c:pt idx="427">
                  <c:v>12/9/2014 7:06</c:v>
                </c:pt>
                <c:pt idx="428">
                  <c:v>12/9/2014 7:07</c:v>
                </c:pt>
                <c:pt idx="429">
                  <c:v>12/9/2014 7:08</c:v>
                </c:pt>
                <c:pt idx="430">
                  <c:v>12/9/2014 7:09</c:v>
                </c:pt>
                <c:pt idx="431">
                  <c:v>12/9/2014 7:10</c:v>
                </c:pt>
                <c:pt idx="432">
                  <c:v>12/9/2014 7:11</c:v>
                </c:pt>
                <c:pt idx="433">
                  <c:v>12/9/2014 7:12</c:v>
                </c:pt>
                <c:pt idx="434">
                  <c:v>12/9/2014 7:13</c:v>
                </c:pt>
                <c:pt idx="435">
                  <c:v>12/9/2014 7:14</c:v>
                </c:pt>
                <c:pt idx="436">
                  <c:v>12/9/2014 7:15</c:v>
                </c:pt>
                <c:pt idx="437">
                  <c:v>12/9/2014 7:16</c:v>
                </c:pt>
                <c:pt idx="438">
                  <c:v>12/9/2014 7:17</c:v>
                </c:pt>
                <c:pt idx="439">
                  <c:v>12/9/2014 7:18</c:v>
                </c:pt>
                <c:pt idx="440">
                  <c:v>12/9/2014 7:19</c:v>
                </c:pt>
                <c:pt idx="441">
                  <c:v>12/9/2014 7:20</c:v>
                </c:pt>
                <c:pt idx="442">
                  <c:v>12/9/2014 7:21</c:v>
                </c:pt>
                <c:pt idx="443">
                  <c:v>12/9/2014 7:22</c:v>
                </c:pt>
                <c:pt idx="444">
                  <c:v>12/9/2014 7:23</c:v>
                </c:pt>
                <c:pt idx="445">
                  <c:v>12/9/2014 7:24</c:v>
                </c:pt>
                <c:pt idx="446">
                  <c:v>12/9/2014 7:25</c:v>
                </c:pt>
                <c:pt idx="447">
                  <c:v>12/9/2014 7:26</c:v>
                </c:pt>
                <c:pt idx="448">
                  <c:v>12/9/2014 7:27</c:v>
                </c:pt>
                <c:pt idx="449">
                  <c:v>12/9/2014 7:28</c:v>
                </c:pt>
                <c:pt idx="450">
                  <c:v>12/9/2014 7:29</c:v>
                </c:pt>
                <c:pt idx="451">
                  <c:v>12/9/2014 7:30</c:v>
                </c:pt>
                <c:pt idx="452">
                  <c:v>12/9/2014 7:31</c:v>
                </c:pt>
                <c:pt idx="453">
                  <c:v>12/9/2014 7:32</c:v>
                </c:pt>
                <c:pt idx="454">
                  <c:v>12/9/2014 7:33</c:v>
                </c:pt>
                <c:pt idx="455">
                  <c:v>12/9/2014 7:34</c:v>
                </c:pt>
                <c:pt idx="456">
                  <c:v>12/9/2014 7:35</c:v>
                </c:pt>
                <c:pt idx="457">
                  <c:v>12/9/2014 7:36</c:v>
                </c:pt>
                <c:pt idx="458">
                  <c:v>12/9/2014 7:37</c:v>
                </c:pt>
                <c:pt idx="459">
                  <c:v>12/9/2014 7:38</c:v>
                </c:pt>
                <c:pt idx="460">
                  <c:v>12/9/2014 7:39</c:v>
                </c:pt>
                <c:pt idx="461">
                  <c:v>12/9/2014 7:40</c:v>
                </c:pt>
                <c:pt idx="462">
                  <c:v>12/9/2014 7:41</c:v>
                </c:pt>
                <c:pt idx="463">
                  <c:v>12/9/2014 7:42</c:v>
                </c:pt>
                <c:pt idx="464">
                  <c:v>12/9/2014 7:43</c:v>
                </c:pt>
                <c:pt idx="465">
                  <c:v>12/9/2014 7:44</c:v>
                </c:pt>
                <c:pt idx="466">
                  <c:v>12/9/2014 7:45</c:v>
                </c:pt>
                <c:pt idx="467">
                  <c:v>12/9/2014 7:46</c:v>
                </c:pt>
                <c:pt idx="468">
                  <c:v>12/9/2014 7:47</c:v>
                </c:pt>
                <c:pt idx="469">
                  <c:v>12/9/2014 7:48</c:v>
                </c:pt>
                <c:pt idx="470">
                  <c:v>12/9/2014 7:49</c:v>
                </c:pt>
                <c:pt idx="471">
                  <c:v>12/9/2014 7:50</c:v>
                </c:pt>
                <c:pt idx="472">
                  <c:v>12/9/2014 7:51</c:v>
                </c:pt>
                <c:pt idx="473">
                  <c:v>12/9/2014 7:52</c:v>
                </c:pt>
                <c:pt idx="474">
                  <c:v>12/9/2014 7:53</c:v>
                </c:pt>
                <c:pt idx="475">
                  <c:v>12/9/2014 7:54</c:v>
                </c:pt>
                <c:pt idx="476">
                  <c:v>12/9/2014 7:55</c:v>
                </c:pt>
                <c:pt idx="477">
                  <c:v>12/9/2014 7:56</c:v>
                </c:pt>
                <c:pt idx="478">
                  <c:v>12/9/2014 7:57</c:v>
                </c:pt>
                <c:pt idx="479">
                  <c:v>12/9/2014 7:58</c:v>
                </c:pt>
                <c:pt idx="480">
                  <c:v>12/9/2014 7:59</c:v>
                </c:pt>
                <c:pt idx="481">
                  <c:v>12/9/2014 8:00</c:v>
                </c:pt>
                <c:pt idx="482">
                  <c:v>12/9/2014 8:01</c:v>
                </c:pt>
                <c:pt idx="483">
                  <c:v>12/9/2014 8:02</c:v>
                </c:pt>
                <c:pt idx="484">
                  <c:v>12/9/2014 8:03</c:v>
                </c:pt>
                <c:pt idx="485">
                  <c:v>12/9/2014 8:04</c:v>
                </c:pt>
                <c:pt idx="486">
                  <c:v>12/9/2014 8:05</c:v>
                </c:pt>
                <c:pt idx="487">
                  <c:v>12/9/2014 8:06</c:v>
                </c:pt>
                <c:pt idx="488">
                  <c:v>12/9/2014 8:07</c:v>
                </c:pt>
                <c:pt idx="489">
                  <c:v>12/9/2014 8:08</c:v>
                </c:pt>
                <c:pt idx="490">
                  <c:v>12/9/2014 8:09</c:v>
                </c:pt>
                <c:pt idx="491">
                  <c:v>12/9/2014 8:10</c:v>
                </c:pt>
                <c:pt idx="492">
                  <c:v>12/9/2014 8:11</c:v>
                </c:pt>
                <c:pt idx="493">
                  <c:v>12/9/2014 8:12</c:v>
                </c:pt>
                <c:pt idx="494">
                  <c:v>12/9/2014 8:13</c:v>
                </c:pt>
                <c:pt idx="495">
                  <c:v>12/9/2014 8:14</c:v>
                </c:pt>
                <c:pt idx="496">
                  <c:v>12/9/2014 8:15</c:v>
                </c:pt>
                <c:pt idx="497">
                  <c:v>12/9/2014 8:16</c:v>
                </c:pt>
                <c:pt idx="498">
                  <c:v>12/9/2014 8:17</c:v>
                </c:pt>
                <c:pt idx="499">
                  <c:v>12/9/2014 8:18</c:v>
                </c:pt>
                <c:pt idx="500">
                  <c:v>12/9/2014 8:19</c:v>
                </c:pt>
                <c:pt idx="501">
                  <c:v>12/9/2014 8:20</c:v>
                </c:pt>
                <c:pt idx="502">
                  <c:v>12/9/2014 8:21</c:v>
                </c:pt>
                <c:pt idx="503">
                  <c:v>12/9/2014 8:22</c:v>
                </c:pt>
                <c:pt idx="504">
                  <c:v>12/9/2014 8:23</c:v>
                </c:pt>
                <c:pt idx="505">
                  <c:v>12/9/2014 8:24</c:v>
                </c:pt>
                <c:pt idx="506">
                  <c:v>12/9/2014 8:25</c:v>
                </c:pt>
                <c:pt idx="507">
                  <c:v>12/9/2014 8:26</c:v>
                </c:pt>
                <c:pt idx="508">
                  <c:v>12/9/2014 8:27</c:v>
                </c:pt>
                <c:pt idx="509">
                  <c:v>12/9/2014 8:28</c:v>
                </c:pt>
                <c:pt idx="510">
                  <c:v>12/9/2014 8:29</c:v>
                </c:pt>
                <c:pt idx="511">
                  <c:v>12/9/2014 8:30</c:v>
                </c:pt>
                <c:pt idx="512">
                  <c:v>12/9/2014 8:31</c:v>
                </c:pt>
                <c:pt idx="513">
                  <c:v>12/9/2014 8:32</c:v>
                </c:pt>
                <c:pt idx="514">
                  <c:v>12/9/2014 8:33</c:v>
                </c:pt>
                <c:pt idx="515">
                  <c:v>12/9/2014 8:34</c:v>
                </c:pt>
                <c:pt idx="516">
                  <c:v>12/9/2014 8:35</c:v>
                </c:pt>
                <c:pt idx="517">
                  <c:v>12/9/2014 8:36</c:v>
                </c:pt>
                <c:pt idx="518">
                  <c:v>12/9/2014 8:37</c:v>
                </c:pt>
                <c:pt idx="519">
                  <c:v>12/9/2014 8:38</c:v>
                </c:pt>
                <c:pt idx="520">
                  <c:v>12/9/2014 8:39</c:v>
                </c:pt>
                <c:pt idx="521">
                  <c:v>12/9/2014 8:40</c:v>
                </c:pt>
                <c:pt idx="522">
                  <c:v>12/9/2014 8:41</c:v>
                </c:pt>
                <c:pt idx="523">
                  <c:v>12/9/2014 8:42</c:v>
                </c:pt>
                <c:pt idx="524">
                  <c:v>12/9/2014 8:43</c:v>
                </c:pt>
                <c:pt idx="525">
                  <c:v>12/9/2014 8:44</c:v>
                </c:pt>
                <c:pt idx="526">
                  <c:v>12/9/2014 8:45</c:v>
                </c:pt>
                <c:pt idx="527">
                  <c:v>12/9/2014 8:46</c:v>
                </c:pt>
                <c:pt idx="528">
                  <c:v>12/9/2014 8:47</c:v>
                </c:pt>
                <c:pt idx="529">
                  <c:v>12/9/2014 8:48</c:v>
                </c:pt>
                <c:pt idx="530">
                  <c:v>12/9/2014 8:49</c:v>
                </c:pt>
                <c:pt idx="531">
                  <c:v>12/9/2014 8:50</c:v>
                </c:pt>
                <c:pt idx="532">
                  <c:v>12/9/2014 8:51</c:v>
                </c:pt>
                <c:pt idx="533">
                  <c:v>12/9/2014 8:52</c:v>
                </c:pt>
                <c:pt idx="534">
                  <c:v>12/9/2014 8:53</c:v>
                </c:pt>
                <c:pt idx="535">
                  <c:v>12/9/2014 8:54</c:v>
                </c:pt>
                <c:pt idx="536">
                  <c:v>12/9/2014 8:55</c:v>
                </c:pt>
                <c:pt idx="537">
                  <c:v>12/9/2014 8:56</c:v>
                </c:pt>
                <c:pt idx="538">
                  <c:v>12/9/2014 8:57</c:v>
                </c:pt>
                <c:pt idx="539">
                  <c:v>12/9/2014 8:58</c:v>
                </c:pt>
                <c:pt idx="540">
                  <c:v>12/9/2014 8:59</c:v>
                </c:pt>
                <c:pt idx="541">
                  <c:v>12/9/2014 9:00</c:v>
                </c:pt>
                <c:pt idx="542">
                  <c:v>12/9/2014 9:01</c:v>
                </c:pt>
                <c:pt idx="543">
                  <c:v>12/9/2014 9:02</c:v>
                </c:pt>
                <c:pt idx="544">
                  <c:v>12/9/2014 9:03</c:v>
                </c:pt>
                <c:pt idx="545">
                  <c:v>12/9/2014 9:04</c:v>
                </c:pt>
                <c:pt idx="546">
                  <c:v>12/9/2014 9:05</c:v>
                </c:pt>
                <c:pt idx="547">
                  <c:v>12/9/2014 9:06</c:v>
                </c:pt>
                <c:pt idx="548">
                  <c:v>12/9/2014 9:07</c:v>
                </c:pt>
                <c:pt idx="549">
                  <c:v>12/9/2014 9:08</c:v>
                </c:pt>
                <c:pt idx="550">
                  <c:v>12/9/2014 9:09</c:v>
                </c:pt>
                <c:pt idx="551">
                  <c:v>12/9/2014 9:10</c:v>
                </c:pt>
                <c:pt idx="552">
                  <c:v>12/9/2014 9:11</c:v>
                </c:pt>
                <c:pt idx="553">
                  <c:v>12/9/2014 9:12</c:v>
                </c:pt>
                <c:pt idx="554">
                  <c:v>12/9/2014 9:13</c:v>
                </c:pt>
                <c:pt idx="555">
                  <c:v>12/9/2014 9:14</c:v>
                </c:pt>
                <c:pt idx="556">
                  <c:v>12/9/2014 9:15</c:v>
                </c:pt>
                <c:pt idx="557">
                  <c:v>12/9/2014 9:16</c:v>
                </c:pt>
                <c:pt idx="558">
                  <c:v>12/9/2014 9:17</c:v>
                </c:pt>
                <c:pt idx="559">
                  <c:v>12/9/2014 9:18</c:v>
                </c:pt>
                <c:pt idx="560">
                  <c:v>12/9/2014 9:19</c:v>
                </c:pt>
                <c:pt idx="561">
                  <c:v>12/9/2014 9:20</c:v>
                </c:pt>
                <c:pt idx="562">
                  <c:v>12/9/2014 9:21</c:v>
                </c:pt>
                <c:pt idx="563">
                  <c:v>12/9/2014 9:22</c:v>
                </c:pt>
                <c:pt idx="564">
                  <c:v>12/9/2014 9:23</c:v>
                </c:pt>
                <c:pt idx="565">
                  <c:v>12/9/2014 9:24</c:v>
                </c:pt>
                <c:pt idx="566">
                  <c:v>12/9/2014 9:25</c:v>
                </c:pt>
                <c:pt idx="567">
                  <c:v>12/9/2014 9:26</c:v>
                </c:pt>
                <c:pt idx="568">
                  <c:v>12/9/2014 9:27</c:v>
                </c:pt>
                <c:pt idx="569">
                  <c:v>12/9/2014 9:28</c:v>
                </c:pt>
                <c:pt idx="570">
                  <c:v>12/9/2014 9:29</c:v>
                </c:pt>
                <c:pt idx="571">
                  <c:v>12/9/2014 9:30</c:v>
                </c:pt>
                <c:pt idx="572">
                  <c:v>12/9/2014 9:31</c:v>
                </c:pt>
                <c:pt idx="573">
                  <c:v>12/9/2014 9:32</c:v>
                </c:pt>
                <c:pt idx="574">
                  <c:v>12/9/2014 9:33</c:v>
                </c:pt>
                <c:pt idx="575">
                  <c:v>12/9/2014 9:34</c:v>
                </c:pt>
                <c:pt idx="576">
                  <c:v>12/9/2014 9:35</c:v>
                </c:pt>
                <c:pt idx="577">
                  <c:v>12/9/2014 9:36</c:v>
                </c:pt>
                <c:pt idx="578">
                  <c:v>12/9/2014 9:37</c:v>
                </c:pt>
                <c:pt idx="579">
                  <c:v>12/9/2014 9:38</c:v>
                </c:pt>
                <c:pt idx="580">
                  <c:v>12/9/2014 9:39</c:v>
                </c:pt>
                <c:pt idx="581">
                  <c:v>12/9/2014 9:40</c:v>
                </c:pt>
                <c:pt idx="582">
                  <c:v>12/9/2014 9:41</c:v>
                </c:pt>
                <c:pt idx="583">
                  <c:v>12/9/2014 9:42</c:v>
                </c:pt>
                <c:pt idx="584">
                  <c:v>12/9/2014 9:43</c:v>
                </c:pt>
                <c:pt idx="585">
                  <c:v>12/9/2014 9:44</c:v>
                </c:pt>
                <c:pt idx="586">
                  <c:v>12/9/2014 9:45</c:v>
                </c:pt>
                <c:pt idx="587">
                  <c:v>12/9/2014 9:46</c:v>
                </c:pt>
                <c:pt idx="588">
                  <c:v>12/9/2014 9:47</c:v>
                </c:pt>
                <c:pt idx="589">
                  <c:v>12/9/2014 9:48</c:v>
                </c:pt>
                <c:pt idx="590">
                  <c:v>12/9/2014 9:49</c:v>
                </c:pt>
                <c:pt idx="591">
                  <c:v>12/9/2014 9:50</c:v>
                </c:pt>
                <c:pt idx="592">
                  <c:v>12/9/2014 9:51</c:v>
                </c:pt>
                <c:pt idx="593">
                  <c:v>12/9/2014 9:52</c:v>
                </c:pt>
                <c:pt idx="594">
                  <c:v>12/9/2014 9:53</c:v>
                </c:pt>
                <c:pt idx="595">
                  <c:v>12/9/2014 9:54</c:v>
                </c:pt>
                <c:pt idx="596">
                  <c:v>12/9/2014 9:55</c:v>
                </c:pt>
                <c:pt idx="597">
                  <c:v>12/9/2014 9:56</c:v>
                </c:pt>
                <c:pt idx="598">
                  <c:v>12/9/2014 9:57</c:v>
                </c:pt>
                <c:pt idx="599">
                  <c:v>12/9/2014 9:58</c:v>
                </c:pt>
                <c:pt idx="600">
                  <c:v>12/9/2014 9:59</c:v>
                </c:pt>
                <c:pt idx="601">
                  <c:v>12/9/2014 10:00</c:v>
                </c:pt>
                <c:pt idx="602">
                  <c:v>12/9/2014 10:01</c:v>
                </c:pt>
                <c:pt idx="603">
                  <c:v>12/9/2014 10:02</c:v>
                </c:pt>
                <c:pt idx="604">
                  <c:v>12/9/2014 10:03</c:v>
                </c:pt>
                <c:pt idx="605">
                  <c:v>12/9/2014 10:04</c:v>
                </c:pt>
                <c:pt idx="606">
                  <c:v>12/9/2014 10:05</c:v>
                </c:pt>
                <c:pt idx="607">
                  <c:v>12/9/2014 10:06</c:v>
                </c:pt>
                <c:pt idx="608">
                  <c:v>12/9/2014 10:07</c:v>
                </c:pt>
                <c:pt idx="609">
                  <c:v>12/9/2014 10:08</c:v>
                </c:pt>
                <c:pt idx="610">
                  <c:v>12/9/2014 10:09</c:v>
                </c:pt>
                <c:pt idx="611">
                  <c:v>12/9/2014 10:10</c:v>
                </c:pt>
                <c:pt idx="612">
                  <c:v>12/9/2014 10:11</c:v>
                </c:pt>
                <c:pt idx="613">
                  <c:v>12/9/2014 10:12</c:v>
                </c:pt>
                <c:pt idx="614">
                  <c:v>12/9/2014 10:13</c:v>
                </c:pt>
                <c:pt idx="615">
                  <c:v>12/9/2014 10:14</c:v>
                </c:pt>
                <c:pt idx="616">
                  <c:v>12/9/2014 10:15</c:v>
                </c:pt>
                <c:pt idx="617">
                  <c:v>12/9/2014 10:16</c:v>
                </c:pt>
                <c:pt idx="618">
                  <c:v>12/9/2014 10:17</c:v>
                </c:pt>
                <c:pt idx="619">
                  <c:v>12/9/2014 10:18</c:v>
                </c:pt>
                <c:pt idx="620">
                  <c:v>12/9/2014 10:19</c:v>
                </c:pt>
                <c:pt idx="621">
                  <c:v>12/9/2014 10:20</c:v>
                </c:pt>
                <c:pt idx="622">
                  <c:v>12/9/2014 10:21</c:v>
                </c:pt>
                <c:pt idx="623">
                  <c:v>12/9/2014 10:22</c:v>
                </c:pt>
                <c:pt idx="624">
                  <c:v>12/9/2014 10:23</c:v>
                </c:pt>
                <c:pt idx="625">
                  <c:v>12/9/2014 10:24</c:v>
                </c:pt>
                <c:pt idx="626">
                  <c:v>12/9/2014 10:25</c:v>
                </c:pt>
                <c:pt idx="627">
                  <c:v>12/9/2014 10:26</c:v>
                </c:pt>
                <c:pt idx="628">
                  <c:v>12/9/2014 10:27</c:v>
                </c:pt>
                <c:pt idx="629">
                  <c:v>12/9/2014 10:28</c:v>
                </c:pt>
                <c:pt idx="630">
                  <c:v>12/9/2014 10:29</c:v>
                </c:pt>
                <c:pt idx="631">
                  <c:v>12/9/2014 10:30</c:v>
                </c:pt>
                <c:pt idx="632">
                  <c:v>12/9/2014 10:31</c:v>
                </c:pt>
                <c:pt idx="633">
                  <c:v>12/9/2014 10:32</c:v>
                </c:pt>
                <c:pt idx="634">
                  <c:v>12/9/2014 10:33</c:v>
                </c:pt>
                <c:pt idx="635">
                  <c:v>12/9/2014 10:34</c:v>
                </c:pt>
                <c:pt idx="636">
                  <c:v>12/9/2014 10:35</c:v>
                </c:pt>
                <c:pt idx="637">
                  <c:v>12/9/2014 10:36</c:v>
                </c:pt>
                <c:pt idx="638">
                  <c:v>12/9/2014 10:37</c:v>
                </c:pt>
                <c:pt idx="639">
                  <c:v>12/9/2014 10:38</c:v>
                </c:pt>
                <c:pt idx="640">
                  <c:v>12/9/2014 10:39</c:v>
                </c:pt>
                <c:pt idx="641">
                  <c:v>12/9/2014 10:40</c:v>
                </c:pt>
                <c:pt idx="642">
                  <c:v>12/9/2014 10:41</c:v>
                </c:pt>
                <c:pt idx="643">
                  <c:v>12/9/2014 10:42</c:v>
                </c:pt>
                <c:pt idx="644">
                  <c:v>12/9/2014 10:43</c:v>
                </c:pt>
                <c:pt idx="645">
                  <c:v>12/9/2014 10:44</c:v>
                </c:pt>
                <c:pt idx="646">
                  <c:v>12/9/2014 10:45</c:v>
                </c:pt>
                <c:pt idx="647">
                  <c:v>12/9/2014 10:46</c:v>
                </c:pt>
                <c:pt idx="648">
                  <c:v>12/9/2014 10:47</c:v>
                </c:pt>
                <c:pt idx="649">
                  <c:v>12/9/2014 10:48</c:v>
                </c:pt>
                <c:pt idx="650">
                  <c:v>12/9/2014 10:49</c:v>
                </c:pt>
                <c:pt idx="651">
                  <c:v>12/9/2014 10:50</c:v>
                </c:pt>
                <c:pt idx="652">
                  <c:v>12/9/2014 10:51</c:v>
                </c:pt>
                <c:pt idx="653">
                  <c:v>12/9/2014 10:52</c:v>
                </c:pt>
                <c:pt idx="654">
                  <c:v>12/9/2014 10:53</c:v>
                </c:pt>
                <c:pt idx="655">
                  <c:v>12/9/2014 10:54</c:v>
                </c:pt>
                <c:pt idx="656">
                  <c:v>12/9/2014 10:55</c:v>
                </c:pt>
                <c:pt idx="657">
                  <c:v>12/9/2014 10:56</c:v>
                </c:pt>
                <c:pt idx="658">
                  <c:v>12/9/2014 10:57</c:v>
                </c:pt>
                <c:pt idx="659">
                  <c:v>12/9/2014 10:58</c:v>
                </c:pt>
                <c:pt idx="660">
                  <c:v>12/9/2014 10:59</c:v>
                </c:pt>
                <c:pt idx="661">
                  <c:v>12/9/2014 11:00</c:v>
                </c:pt>
                <c:pt idx="662">
                  <c:v>12/9/2014 11:01</c:v>
                </c:pt>
                <c:pt idx="663">
                  <c:v>12/9/2014 11:02</c:v>
                </c:pt>
                <c:pt idx="664">
                  <c:v>12/9/2014 11:03</c:v>
                </c:pt>
                <c:pt idx="665">
                  <c:v>12/9/2014 11:04</c:v>
                </c:pt>
                <c:pt idx="666">
                  <c:v>12/9/2014 11:05</c:v>
                </c:pt>
                <c:pt idx="667">
                  <c:v>12/9/2014 11:06</c:v>
                </c:pt>
                <c:pt idx="668">
                  <c:v>12/9/2014 11:07</c:v>
                </c:pt>
                <c:pt idx="669">
                  <c:v>12/9/2014 11:08</c:v>
                </c:pt>
                <c:pt idx="670">
                  <c:v>12/9/2014 11:09</c:v>
                </c:pt>
                <c:pt idx="671">
                  <c:v>12/9/2014 11:10</c:v>
                </c:pt>
                <c:pt idx="672">
                  <c:v>12/9/2014 11:11</c:v>
                </c:pt>
                <c:pt idx="673">
                  <c:v>12/9/2014 11:12</c:v>
                </c:pt>
                <c:pt idx="674">
                  <c:v>12/9/2014 11:13</c:v>
                </c:pt>
                <c:pt idx="675">
                  <c:v>12/9/2014 11:14</c:v>
                </c:pt>
                <c:pt idx="676">
                  <c:v>12/9/2014 11:15</c:v>
                </c:pt>
                <c:pt idx="677">
                  <c:v>12/9/2014 11:16</c:v>
                </c:pt>
                <c:pt idx="678">
                  <c:v>12/9/2014 11:17</c:v>
                </c:pt>
                <c:pt idx="679">
                  <c:v>12/9/2014 11:18</c:v>
                </c:pt>
                <c:pt idx="680">
                  <c:v>12/9/2014 11:19</c:v>
                </c:pt>
                <c:pt idx="681">
                  <c:v>12/9/2014 11:20</c:v>
                </c:pt>
                <c:pt idx="682">
                  <c:v>12/9/2014 11:21</c:v>
                </c:pt>
                <c:pt idx="683">
                  <c:v>12/9/2014 11:22</c:v>
                </c:pt>
                <c:pt idx="684">
                  <c:v>12/9/2014 11:23</c:v>
                </c:pt>
                <c:pt idx="685">
                  <c:v>12/9/2014 11:24</c:v>
                </c:pt>
                <c:pt idx="686">
                  <c:v>12/9/2014 11:25</c:v>
                </c:pt>
                <c:pt idx="687">
                  <c:v>12/9/2014 11:26</c:v>
                </c:pt>
                <c:pt idx="688">
                  <c:v>12/9/2014 11:27</c:v>
                </c:pt>
                <c:pt idx="689">
                  <c:v>12/9/2014 11:28</c:v>
                </c:pt>
                <c:pt idx="690">
                  <c:v>12/9/2014 11:29</c:v>
                </c:pt>
                <c:pt idx="691">
                  <c:v>12/9/2014 11:30</c:v>
                </c:pt>
                <c:pt idx="692">
                  <c:v>12/9/2014 11:31</c:v>
                </c:pt>
                <c:pt idx="693">
                  <c:v>12/9/2014 11:32</c:v>
                </c:pt>
                <c:pt idx="694">
                  <c:v>12/9/2014 11:33</c:v>
                </c:pt>
                <c:pt idx="695">
                  <c:v>12/9/2014 11:34</c:v>
                </c:pt>
                <c:pt idx="696">
                  <c:v>12/9/2014 11:35</c:v>
                </c:pt>
                <c:pt idx="697">
                  <c:v>12/9/2014 11:36</c:v>
                </c:pt>
                <c:pt idx="698">
                  <c:v>12/9/2014 11:37</c:v>
                </c:pt>
                <c:pt idx="699">
                  <c:v>12/9/2014 11:38</c:v>
                </c:pt>
                <c:pt idx="700">
                  <c:v>12/9/2014 11:39</c:v>
                </c:pt>
                <c:pt idx="701">
                  <c:v>12/9/2014 11:40</c:v>
                </c:pt>
                <c:pt idx="702">
                  <c:v>12/9/2014 11:41</c:v>
                </c:pt>
                <c:pt idx="703">
                  <c:v>12/9/2014 11:42</c:v>
                </c:pt>
                <c:pt idx="704">
                  <c:v>12/9/2014 11:43</c:v>
                </c:pt>
                <c:pt idx="705">
                  <c:v>12/9/2014 11:44</c:v>
                </c:pt>
                <c:pt idx="706">
                  <c:v>12/9/2014 11:45</c:v>
                </c:pt>
                <c:pt idx="707">
                  <c:v>12/9/2014 11:46</c:v>
                </c:pt>
                <c:pt idx="708">
                  <c:v>12/9/2014 11:47</c:v>
                </c:pt>
                <c:pt idx="709">
                  <c:v>12/9/2014 11:48</c:v>
                </c:pt>
                <c:pt idx="710">
                  <c:v>12/9/2014 11:49</c:v>
                </c:pt>
                <c:pt idx="711">
                  <c:v>12/9/2014 11:50</c:v>
                </c:pt>
                <c:pt idx="712">
                  <c:v>12/9/2014 11:51</c:v>
                </c:pt>
                <c:pt idx="713">
                  <c:v>12/9/2014 11:52</c:v>
                </c:pt>
                <c:pt idx="714">
                  <c:v>12/9/2014 11:53</c:v>
                </c:pt>
                <c:pt idx="715">
                  <c:v>12/9/2014 11:54</c:v>
                </c:pt>
                <c:pt idx="716">
                  <c:v>12/9/2014 11:55</c:v>
                </c:pt>
                <c:pt idx="717">
                  <c:v>12/9/2014 11:56</c:v>
                </c:pt>
                <c:pt idx="718">
                  <c:v>12/9/2014 11:57</c:v>
                </c:pt>
                <c:pt idx="719">
                  <c:v>12/9/2014 11:58</c:v>
                </c:pt>
                <c:pt idx="720">
                  <c:v>12/9/2014 11:59</c:v>
                </c:pt>
                <c:pt idx="721">
                  <c:v>12/9/2014 12:00</c:v>
                </c:pt>
                <c:pt idx="722">
                  <c:v>12/9/2014 12:01</c:v>
                </c:pt>
                <c:pt idx="723">
                  <c:v>12/9/2014 12:02</c:v>
                </c:pt>
                <c:pt idx="724">
                  <c:v>12/9/2014 12:03</c:v>
                </c:pt>
                <c:pt idx="725">
                  <c:v>12/9/2014 12:04</c:v>
                </c:pt>
                <c:pt idx="726">
                  <c:v>12/9/2014 12:05</c:v>
                </c:pt>
                <c:pt idx="727">
                  <c:v>12/9/2014 12:06</c:v>
                </c:pt>
                <c:pt idx="728">
                  <c:v>12/9/2014 12:07</c:v>
                </c:pt>
                <c:pt idx="729">
                  <c:v>12/9/2014 12:08</c:v>
                </c:pt>
                <c:pt idx="730">
                  <c:v>12/9/2014 12:09</c:v>
                </c:pt>
                <c:pt idx="731">
                  <c:v>12/9/2014 12:10</c:v>
                </c:pt>
                <c:pt idx="732">
                  <c:v>12/9/2014 12:11</c:v>
                </c:pt>
                <c:pt idx="733">
                  <c:v>12/9/2014 12:12</c:v>
                </c:pt>
                <c:pt idx="734">
                  <c:v>12/9/2014 12:13</c:v>
                </c:pt>
                <c:pt idx="735">
                  <c:v>12/9/2014 12:14</c:v>
                </c:pt>
                <c:pt idx="736">
                  <c:v>12/9/2014 12:15</c:v>
                </c:pt>
                <c:pt idx="737">
                  <c:v>12/9/2014 12:16</c:v>
                </c:pt>
                <c:pt idx="738">
                  <c:v>12/9/2014 12:17</c:v>
                </c:pt>
                <c:pt idx="739">
                  <c:v>12/9/2014 12:18</c:v>
                </c:pt>
                <c:pt idx="740">
                  <c:v>12/9/2014 12:19</c:v>
                </c:pt>
                <c:pt idx="741">
                  <c:v>12/9/2014 12:20</c:v>
                </c:pt>
                <c:pt idx="742">
                  <c:v>12/9/2014 12:21</c:v>
                </c:pt>
                <c:pt idx="743">
                  <c:v>12/9/2014 12:22</c:v>
                </c:pt>
                <c:pt idx="744">
                  <c:v>12/9/2014 12:23</c:v>
                </c:pt>
                <c:pt idx="745">
                  <c:v>12/9/2014 12:24</c:v>
                </c:pt>
                <c:pt idx="746">
                  <c:v>12/9/2014 12:25</c:v>
                </c:pt>
                <c:pt idx="747">
                  <c:v>12/9/2014 12:26</c:v>
                </c:pt>
                <c:pt idx="748">
                  <c:v>12/9/2014 12:27</c:v>
                </c:pt>
                <c:pt idx="749">
                  <c:v>12/9/2014 12:28</c:v>
                </c:pt>
                <c:pt idx="750">
                  <c:v>12/9/2014 12:29</c:v>
                </c:pt>
                <c:pt idx="751">
                  <c:v>12/9/2014 12:30</c:v>
                </c:pt>
                <c:pt idx="752">
                  <c:v>12/9/2014 12:31</c:v>
                </c:pt>
                <c:pt idx="753">
                  <c:v>12/9/2014 12:32</c:v>
                </c:pt>
                <c:pt idx="754">
                  <c:v>12/9/2014 12:33</c:v>
                </c:pt>
                <c:pt idx="755">
                  <c:v>12/9/2014 12:34</c:v>
                </c:pt>
                <c:pt idx="756">
                  <c:v>12/9/2014 12:35</c:v>
                </c:pt>
                <c:pt idx="757">
                  <c:v>12/9/2014 12:36</c:v>
                </c:pt>
                <c:pt idx="758">
                  <c:v>12/9/2014 12:37</c:v>
                </c:pt>
                <c:pt idx="759">
                  <c:v>12/9/2014 12:38</c:v>
                </c:pt>
                <c:pt idx="760">
                  <c:v>12/9/2014 12:39</c:v>
                </c:pt>
                <c:pt idx="761">
                  <c:v>12/9/2014 12:40</c:v>
                </c:pt>
                <c:pt idx="762">
                  <c:v>12/9/2014 12:41</c:v>
                </c:pt>
                <c:pt idx="763">
                  <c:v>12/9/2014 12:42</c:v>
                </c:pt>
                <c:pt idx="764">
                  <c:v>12/9/2014 12:43</c:v>
                </c:pt>
                <c:pt idx="765">
                  <c:v>12/9/2014 12:44</c:v>
                </c:pt>
                <c:pt idx="766">
                  <c:v>12/9/2014 12:45</c:v>
                </c:pt>
                <c:pt idx="767">
                  <c:v>12/9/2014 12:46</c:v>
                </c:pt>
                <c:pt idx="768">
                  <c:v>12/9/2014 12:47</c:v>
                </c:pt>
                <c:pt idx="769">
                  <c:v>12/9/2014 12:48</c:v>
                </c:pt>
                <c:pt idx="770">
                  <c:v>12/9/2014 12:49</c:v>
                </c:pt>
                <c:pt idx="771">
                  <c:v>12/9/2014 12:50</c:v>
                </c:pt>
                <c:pt idx="772">
                  <c:v>12/9/2014 12:51</c:v>
                </c:pt>
                <c:pt idx="773">
                  <c:v>12/9/2014 12:52</c:v>
                </c:pt>
                <c:pt idx="774">
                  <c:v>12/9/2014 12:53</c:v>
                </c:pt>
                <c:pt idx="775">
                  <c:v>12/9/2014 12:54</c:v>
                </c:pt>
                <c:pt idx="776">
                  <c:v>12/9/2014 12:55</c:v>
                </c:pt>
                <c:pt idx="777">
                  <c:v>12/9/2014 12:56</c:v>
                </c:pt>
                <c:pt idx="778">
                  <c:v>12/9/2014 12:57</c:v>
                </c:pt>
                <c:pt idx="779">
                  <c:v>12/9/2014 12:58</c:v>
                </c:pt>
                <c:pt idx="780">
                  <c:v>12/9/2014 12:59</c:v>
                </c:pt>
                <c:pt idx="781">
                  <c:v>12/9/2014 13:00</c:v>
                </c:pt>
                <c:pt idx="782">
                  <c:v>12/9/2014 13:01</c:v>
                </c:pt>
                <c:pt idx="783">
                  <c:v>12/9/2014 13:02</c:v>
                </c:pt>
                <c:pt idx="784">
                  <c:v>12/9/2014 13:03</c:v>
                </c:pt>
                <c:pt idx="785">
                  <c:v>12/9/2014 13:04</c:v>
                </c:pt>
                <c:pt idx="786">
                  <c:v>12/9/2014 13:05</c:v>
                </c:pt>
                <c:pt idx="787">
                  <c:v>12/9/2014 13:06</c:v>
                </c:pt>
                <c:pt idx="788">
                  <c:v>12/9/2014 13:07</c:v>
                </c:pt>
                <c:pt idx="789">
                  <c:v>12/9/2014 13:08</c:v>
                </c:pt>
                <c:pt idx="790">
                  <c:v>12/9/2014 13:09</c:v>
                </c:pt>
                <c:pt idx="791">
                  <c:v>12/9/2014 13:10</c:v>
                </c:pt>
                <c:pt idx="792">
                  <c:v>12/9/2014 13:11</c:v>
                </c:pt>
                <c:pt idx="793">
                  <c:v>12/9/2014 13:12</c:v>
                </c:pt>
                <c:pt idx="794">
                  <c:v>12/9/2014 13:13</c:v>
                </c:pt>
                <c:pt idx="795">
                  <c:v>12/9/2014 13:14</c:v>
                </c:pt>
                <c:pt idx="796">
                  <c:v>12/9/2014 13:15</c:v>
                </c:pt>
                <c:pt idx="797">
                  <c:v>12/9/2014 13:16</c:v>
                </c:pt>
                <c:pt idx="798">
                  <c:v>12/9/2014 13:17</c:v>
                </c:pt>
                <c:pt idx="799">
                  <c:v>12/9/2014 13:18</c:v>
                </c:pt>
                <c:pt idx="800">
                  <c:v>12/9/2014 13:19</c:v>
                </c:pt>
                <c:pt idx="801">
                  <c:v>12/9/2014 13:20</c:v>
                </c:pt>
                <c:pt idx="802">
                  <c:v>12/9/2014 13:21</c:v>
                </c:pt>
                <c:pt idx="803">
                  <c:v>12/9/2014 13:22</c:v>
                </c:pt>
                <c:pt idx="804">
                  <c:v>12/9/2014 13:23</c:v>
                </c:pt>
                <c:pt idx="805">
                  <c:v>12/9/2014 13:24</c:v>
                </c:pt>
                <c:pt idx="806">
                  <c:v>12/9/2014 13:25</c:v>
                </c:pt>
                <c:pt idx="807">
                  <c:v>12/9/2014 13:26</c:v>
                </c:pt>
                <c:pt idx="808">
                  <c:v>12/9/2014 13:27</c:v>
                </c:pt>
                <c:pt idx="809">
                  <c:v>12/9/2014 13:28</c:v>
                </c:pt>
                <c:pt idx="810">
                  <c:v>12/9/2014 13:29</c:v>
                </c:pt>
                <c:pt idx="811">
                  <c:v>12/9/2014 13:30</c:v>
                </c:pt>
                <c:pt idx="812">
                  <c:v>12/9/2014 13:31</c:v>
                </c:pt>
                <c:pt idx="813">
                  <c:v>12/9/2014 13:32</c:v>
                </c:pt>
                <c:pt idx="814">
                  <c:v>12/9/2014 13:33</c:v>
                </c:pt>
                <c:pt idx="815">
                  <c:v>12/9/2014 13:34</c:v>
                </c:pt>
                <c:pt idx="816">
                  <c:v>12/9/2014 13:35</c:v>
                </c:pt>
                <c:pt idx="817">
                  <c:v>12/9/2014 13:36</c:v>
                </c:pt>
                <c:pt idx="818">
                  <c:v>12/9/2014 13:37</c:v>
                </c:pt>
                <c:pt idx="819">
                  <c:v>12/9/2014 13:38</c:v>
                </c:pt>
                <c:pt idx="820">
                  <c:v>12/9/2014 13:39</c:v>
                </c:pt>
                <c:pt idx="821">
                  <c:v>12/9/2014 13:40</c:v>
                </c:pt>
                <c:pt idx="822">
                  <c:v>12/9/2014 13:41</c:v>
                </c:pt>
                <c:pt idx="823">
                  <c:v>12/9/2014 13:42</c:v>
                </c:pt>
                <c:pt idx="824">
                  <c:v>12/9/2014 13:43</c:v>
                </c:pt>
                <c:pt idx="825">
                  <c:v>12/9/2014 13:44</c:v>
                </c:pt>
                <c:pt idx="826">
                  <c:v>12/9/2014 13:45</c:v>
                </c:pt>
                <c:pt idx="827">
                  <c:v>12/9/2014 13:46</c:v>
                </c:pt>
                <c:pt idx="828">
                  <c:v>12/9/2014 13:47</c:v>
                </c:pt>
                <c:pt idx="829">
                  <c:v>12/9/2014 13:48</c:v>
                </c:pt>
                <c:pt idx="830">
                  <c:v>12/9/2014 13:49</c:v>
                </c:pt>
                <c:pt idx="831">
                  <c:v>12/9/2014 13:50</c:v>
                </c:pt>
                <c:pt idx="832">
                  <c:v>12/9/2014 13:51</c:v>
                </c:pt>
                <c:pt idx="833">
                  <c:v>12/9/2014 13:52</c:v>
                </c:pt>
                <c:pt idx="834">
                  <c:v>12/9/2014 13:53</c:v>
                </c:pt>
                <c:pt idx="835">
                  <c:v>12/9/2014 13:54</c:v>
                </c:pt>
                <c:pt idx="836">
                  <c:v>12/9/2014 13:55</c:v>
                </c:pt>
                <c:pt idx="837">
                  <c:v>12/9/2014 13:56</c:v>
                </c:pt>
                <c:pt idx="838">
                  <c:v>12/9/2014 13:57</c:v>
                </c:pt>
                <c:pt idx="839">
                  <c:v>12/9/2014 13:58</c:v>
                </c:pt>
                <c:pt idx="840">
                  <c:v>12/9/2014 13:59</c:v>
                </c:pt>
                <c:pt idx="841">
                  <c:v>12/9/2014 14:00</c:v>
                </c:pt>
                <c:pt idx="842">
                  <c:v>12/9/2014 14:01</c:v>
                </c:pt>
                <c:pt idx="843">
                  <c:v>12/9/2014 14:02</c:v>
                </c:pt>
                <c:pt idx="844">
                  <c:v>12/9/2014 14:03</c:v>
                </c:pt>
                <c:pt idx="845">
                  <c:v>12/9/2014 14:04</c:v>
                </c:pt>
                <c:pt idx="846">
                  <c:v>12/9/2014 14:05</c:v>
                </c:pt>
                <c:pt idx="847">
                  <c:v>12/9/2014 14:06</c:v>
                </c:pt>
                <c:pt idx="848">
                  <c:v>12/9/2014 14:07</c:v>
                </c:pt>
                <c:pt idx="849">
                  <c:v>12/9/2014 14:08</c:v>
                </c:pt>
                <c:pt idx="850">
                  <c:v>12/9/2014 14:09</c:v>
                </c:pt>
                <c:pt idx="851">
                  <c:v>12/9/2014 14:10</c:v>
                </c:pt>
                <c:pt idx="852">
                  <c:v>12/9/2014 14:11</c:v>
                </c:pt>
                <c:pt idx="853">
                  <c:v>12/9/2014 14:12</c:v>
                </c:pt>
                <c:pt idx="854">
                  <c:v>12/9/2014 14:13</c:v>
                </c:pt>
                <c:pt idx="855">
                  <c:v>12/9/2014 14:14</c:v>
                </c:pt>
                <c:pt idx="856">
                  <c:v>12/9/2014 14:15</c:v>
                </c:pt>
                <c:pt idx="857">
                  <c:v>12/9/2014 14:16</c:v>
                </c:pt>
                <c:pt idx="858">
                  <c:v>12/9/2014 14:17</c:v>
                </c:pt>
                <c:pt idx="859">
                  <c:v>12/9/2014 14:18</c:v>
                </c:pt>
                <c:pt idx="860">
                  <c:v>12/9/2014 14:19</c:v>
                </c:pt>
                <c:pt idx="861">
                  <c:v>12/9/2014 14:20</c:v>
                </c:pt>
                <c:pt idx="862">
                  <c:v>12/9/2014 14:21</c:v>
                </c:pt>
                <c:pt idx="863">
                  <c:v>12/9/2014 14:22</c:v>
                </c:pt>
                <c:pt idx="864">
                  <c:v>12/9/2014 14:23</c:v>
                </c:pt>
                <c:pt idx="865">
                  <c:v>12/9/2014 14:24</c:v>
                </c:pt>
                <c:pt idx="866">
                  <c:v>12/9/2014 14:25</c:v>
                </c:pt>
                <c:pt idx="867">
                  <c:v>12/9/2014 14:26</c:v>
                </c:pt>
                <c:pt idx="868">
                  <c:v>12/9/2014 14:27</c:v>
                </c:pt>
                <c:pt idx="869">
                  <c:v>12/9/2014 14:28</c:v>
                </c:pt>
                <c:pt idx="870">
                  <c:v>12/9/2014 14:29</c:v>
                </c:pt>
                <c:pt idx="871">
                  <c:v>12/9/2014 14:30</c:v>
                </c:pt>
                <c:pt idx="872">
                  <c:v>12/9/2014 14:31</c:v>
                </c:pt>
                <c:pt idx="873">
                  <c:v>12/9/2014 14:32</c:v>
                </c:pt>
                <c:pt idx="874">
                  <c:v>12/9/2014 14:33</c:v>
                </c:pt>
                <c:pt idx="875">
                  <c:v>12/9/2014 14:34</c:v>
                </c:pt>
                <c:pt idx="876">
                  <c:v>12/9/2014 14:35</c:v>
                </c:pt>
                <c:pt idx="877">
                  <c:v>12/9/2014 14:36</c:v>
                </c:pt>
                <c:pt idx="878">
                  <c:v>12/9/2014 14:37</c:v>
                </c:pt>
                <c:pt idx="879">
                  <c:v>12/9/2014 14:38</c:v>
                </c:pt>
                <c:pt idx="880">
                  <c:v>12/9/2014 14:39</c:v>
                </c:pt>
                <c:pt idx="881">
                  <c:v>12/9/2014 14:40</c:v>
                </c:pt>
                <c:pt idx="882">
                  <c:v>12/9/2014 14:41</c:v>
                </c:pt>
                <c:pt idx="883">
                  <c:v>12/9/2014 14:42</c:v>
                </c:pt>
                <c:pt idx="884">
                  <c:v>12/9/2014 14:43</c:v>
                </c:pt>
                <c:pt idx="885">
                  <c:v>12/9/2014 14:44</c:v>
                </c:pt>
                <c:pt idx="886">
                  <c:v>12/9/2014 14:45</c:v>
                </c:pt>
                <c:pt idx="887">
                  <c:v>12/9/2014 14:46</c:v>
                </c:pt>
                <c:pt idx="888">
                  <c:v>12/9/2014 14:47</c:v>
                </c:pt>
                <c:pt idx="889">
                  <c:v>12/9/2014 14:48</c:v>
                </c:pt>
                <c:pt idx="890">
                  <c:v>12/9/2014 14:49</c:v>
                </c:pt>
                <c:pt idx="891">
                  <c:v>12/9/2014 14:50</c:v>
                </c:pt>
                <c:pt idx="892">
                  <c:v>12/9/2014 14:51</c:v>
                </c:pt>
                <c:pt idx="893">
                  <c:v>12/9/2014 14:52</c:v>
                </c:pt>
                <c:pt idx="894">
                  <c:v>12/9/2014 14:53</c:v>
                </c:pt>
                <c:pt idx="895">
                  <c:v>12/9/2014 14:54</c:v>
                </c:pt>
                <c:pt idx="896">
                  <c:v>12/9/2014 14:55</c:v>
                </c:pt>
                <c:pt idx="897">
                  <c:v>12/9/2014 14:56</c:v>
                </c:pt>
                <c:pt idx="898">
                  <c:v>12/9/2014 14:57</c:v>
                </c:pt>
                <c:pt idx="899">
                  <c:v>12/9/2014 14:58</c:v>
                </c:pt>
                <c:pt idx="900">
                  <c:v>12/9/2014 14:59</c:v>
                </c:pt>
                <c:pt idx="901">
                  <c:v>12/9/2014 15:00</c:v>
                </c:pt>
                <c:pt idx="902">
                  <c:v>12/9/2014 15:01</c:v>
                </c:pt>
                <c:pt idx="903">
                  <c:v>12/9/2014 15:02</c:v>
                </c:pt>
                <c:pt idx="904">
                  <c:v>12/9/2014 15:03</c:v>
                </c:pt>
                <c:pt idx="905">
                  <c:v>12/9/2014 15:04</c:v>
                </c:pt>
                <c:pt idx="906">
                  <c:v>12/9/2014 15:05</c:v>
                </c:pt>
                <c:pt idx="907">
                  <c:v>12/9/2014 15:06</c:v>
                </c:pt>
                <c:pt idx="908">
                  <c:v>12/9/2014 15:07</c:v>
                </c:pt>
                <c:pt idx="909">
                  <c:v>12/9/2014 15:08</c:v>
                </c:pt>
                <c:pt idx="910">
                  <c:v>12/9/2014 15:09</c:v>
                </c:pt>
                <c:pt idx="911">
                  <c:v>12/9/2014 15:10</c:v>
                </c:pt>
                <c:pt idx="912">
                  <c:v>12/9/2014 15:11</c:v>
                </c:pt>
                <c:pt idx="913">
                  <c:v>12/9/2014 15:12</c:v>
                </c:pt>
                <c:pt idx="914">
                  <c:v>12/9/2014 15:13</c:v>
                </c:pt>
                <c:pt idx="915">
                  <c:v>12/9/2014 15:14</c:v>
                </c:pt>
                <c:pt idx="916">
                  <c:v>12/9/2014 15:15</c:v>
                </c:pt>
                <c:pt idx="917">
                  <c:v>12/9/2014 15:16</c:v>
                </c:pt>
                <c:pt idx="918">
                  <c:v>12/9/2014 15:17</c:v>
                </c:pt>
                <c:pt idx="919">
                  <c:v>12/9/2014 15:18</c:v>
                </c:pt>
                <c:pt idx="920">
                  <c:v>12/9/2014 15:19</c:v>
                </c:pt>
                <c:pt idx="921">
                  <c:v>12/9/2014 15:20</c:v>
                </c:pt>
                <c:pt idx="922">
                  <c:v>12/9/2014 15:21</c:v>
                </c:pt>
                <c:pt idx="923">
                  <c:v>12/9/2014 15:22</c:v>
                </c:pt>
                <c:pt idx="924">
                  <c:v>12/9/2014 15:23</c:v>
                </c:pt>
                <c:pt idx="925">
                  <c:v>12/9/2014 15:24</c:v>
                </c:pt>
                <c:pt idx="926">
                  <c:v>12/9/2014 15:25</c:v>
                </c:pt>
                <c:pt idx="927">
                  <c:v>12/9/2014 15:26</c:v>
                </c:pt>
                <c:pt idx="928">
                  <c:v>12/9/2014 15:27</c:v>
                </c:pt>
                <c:pt idx="929">
                  <c:v>12/9/2014 15:28</c:v>
                </c:pt>
                <c:pt idx="930">
                  <c:v>12/9/2014 15:29</c:v>
                </c:pt>
                <c:pt idx="931">
                  <c:v>12/9/2014 15:30</c:v>
                </c:pt>
                <c:pt idx="932">
                  <c:v>12/9/2014 15:31</c:v>
                </c:pt>
                <c:pt idx="933">
                  <c:v>12/9/2014 15:32</c:v>
                </c:pt>
                <c:pt idx="934">
                  <c:v>12/9/2014 15:33</c:v>
                </c:pt>
                <c:pt idx="935">
                  <c:v>12/9/2014 15:34</c:v>
                </c:pt>
                <c:pt idx="936">
                  <c:v>12/9/2014 15:35</c:v>
                </c:pt>
                <c:pt idx="937">
                  <c:v>12/9/2014 15:36</c:v>
                </c:pt>
                <c:pt idx="938">
                  <c:v>12/9/2014 15:37</c:v>
                </c:pt>
                <c:pt idx="939">
                  <c:v>12/9/2014 15:38</c:v>
                </c:pt>
                <c:pt idx="940">
                  <c:v>12/9/2014 15:39</c:v>
                </c:pt>
                <c:pt idx="941">
                  <c:v>12/9/2014 15:40</c:v>
                </c:pt>
                <c:pt idx="942">
                  <c:v>12/9/2014 15:41</c:v>
                </c:pt>
                <c:pt idx="943">
                  <c:v>12/9/2014 15:42</c:v>
                </c:pt>
                <c:pt idx="944">
                  <c:v>12/9/2014 15:43</c:v>
                </c:pt>
                <c:pt idx="945">
                  <c:v>12/9/2014 15:44</c:v>
                </c:pt>
                <c:pt idx="946">
                  <c:v>12/9/2014 15:45</c:v>
                </c:pt>
                <c:pt idx="947">
                  <c:v>12/9/2014 15:46</c:v>
                </c:pt>
                <c:pt idx="948">
                  <c:v>12/9/2014 15:47</c:v>
                </c:pt>
                <c:pt idx="949">
                  <c:v>12/9/2014 15:48</c:v>
                </c:pt>
                <c:pt idx="950">
                  <c:v>12/9/2014 15:49</c:v>
                </c:pt>
                <c:pt idx="951">
                  <c:v>12/9/2014 15:50</c:v>
                </c:pt>
                <c:pt idx="952">
                  <c:v>12/9/2014 15:51</c:v>
                </c:pt>
                <c:pt idx="953">
                  <c:v>12/9/2014 15:52</c:v>
                </c:pt>
                <c:pt idx="954">
                  <c:v>12/9/2014 15:53</c:v>
                </c:pt>
                <c:pt idx="955">
                  <c:v>12/9/2014 15:54</c:v>
                </c:pt>
                <c:pt idx="956">
                  <c:v>12/9/2014 15:55</c:v>
                </c:pt>
                <c:pt idx="957">
                  <c:v>12/9/2014 15:56</c:v>
                </c:pt>
                <c:pt idx="958">
                  <c:v>12/9/2014 15:57</c:v>
                </c:pt>
                <c:pt idx="959">
                  <c:v>12/9/2014 15:58</c:v>
                </c:pt>
                <c:pt idx="960">
                  <c:v>12/9/2014 15:59</c:v>
                </c:pt>
                <c:pt idx="961">
                  <c:v>12/9/2014 16:00</c:v>
                </c:pt>
                <c:pt idx="962">
                  <c:v>12/9/2014 16:01</c:v>
                </c:pt>
                <c:pt idx="963">
                  <c:v>12/9/2014 16:02</c:v>
                </c:pt>
                <c:pt idx="964">
                  <c:v>12/9/2014 16:03</c:v>
                </c:pt>
                <c:pt idx="965">
                  <c:v>12/9/2014 16:04</c:v>
                </c:pt>
                <c:pt idx="966">
                  <c:v>12/9/2014 16:05</c:v>
                </c:pt>
                <c:pt idx="967">
                  <c:v>12/9/2014 16:06</c:v>
                </c:pt>
                <c:pt idx="968">
                  <c:v>12/9/2014 16:07</c:v>
                </c:pt>
                <c:pt idx="969">
                  <c:v>12/9/2014 16:08</c:v>
                </c:pt>
                <c:pt idx="970">
                  <c:v>12/9/2014 16:09</c:v>
                </c:pt>
                <c:pt idx="971">
                  <c:v>12/9/2014 16:10</c:v>
                </c:pt>
                <c:pt idx="972">
                  <c:v>12/9/2014 16:11</c:v>
                </c:pt>
                <c:pt idx="973">
                  <c:v>12/9/2014 16:12</c:v>
                </c:pt>
                <c:pt idx="974">
                  <c:v>12/9/2014 16:13</c:v>
                </c:pt>
                <c:pt idx="975">
                  <c:v>12/9/2014 16:14</c:v>
                </c:pt>
                <c:pt idx="976">
                  <c:v>12/9/2014 16:15</c:v>
                </c:pt>
                <c:pt idx="977">
                  <c:v>12/9/2014 16:16</c:v>
                </c:pt>
                <c:pt idx="978">
                  <c:v>12/9/2014 16:17</c:v>
                </c:pt>
                <c:pt idx="979">
                  <c:v>12/9/2014 16:18</c:v>
                </c:pt>
                <c:pt idx="980">
                  <c:v>12/9/2014 16:19</c:v>
                </c:pt>
                <c:pt idx="981">
                  <c:v>12/9/2014 16:20</c:v>
                </c:pt>
                <c:pt idx="982">
                  <c:v>12/9/2014 16:21</c:v>
                </c:pt>
                <c:pt idx="983">
                  <c:v>12/9/2014 16:22</c:v>
                </c:pt>
                <c:pt idx="984">
                  <c:v>12/9/2014 16:23</c:v>
                </c:pt>
                <c:pt idx="985">
                  <c:v>12/9/2014 16:24</c:v>
                </c:pt>
                <c:pt idx="986">
                  <c:v>12/9/2014 16:25</c:v>
                </c:pt>
                <c:pt idx="987">
                  <c:v>12/9/2014 16:26</c:v>
                </c:pt>
                <c:pt idx="988">
                  <c:v>12/9/2014 16:27</c:v>
                </c:pt>
                <c:pt idx="989">
                  <c:v>12/9/2014 16:28</c:v>
                </c:pt>
                <c:pt idx="990">
                  <c:v>12/9/2014 16:29</c:v>
                </c:pt>
                <c:pt idx="991">
                  <c:v>12/9/2014 16:30</c:v>
                </c:pt>
                <c:pt idx="992">
                  <c:v>12/9/2014 16:31</c:v>
                </c:pt>
                <c:pt idx="993">
                  <c:v>12/9/2014 16:32</c:v>
                </c:pt>
                <c:pt idx="994">
                  <c:v>12/9/2014 16:33</c:v>
                </c:pt>
                <c:pt idx="995">
                  <c:v>12/9/2014 16:34</c:v>
                </c:pt>
                <c:pt idx="996">
                  <c:v>12/9/2014 16:35</c:v>
                </c:pt>
                <c:pt idx="997">
                  <c:v>12/9/2014 16:36</c:v>
                </c:pt>
                <c:pt idx="998">
                  <c:v>12/9/2014 16:37</c:v>
                </c:pt>
                <c:pt idx="999">
                  <c:v>12/9/2014 16:38</c:v>
                </c:pt>
                <c:pt idx="1000">
                  <c:v>12/9/2014 16:39</c:v>
                </c:pt>
                <c:pt idx="1001">
                  <c:v>12/9/2014 16:40</c:v>
                </c:pt>
                <c:pt idx="1002">
                  <c:v>12/9/2014 16:41</c:v>
                </c:pt>
                <c:pt idx="1003">
                  <c:v>12/9/2014 16:42</c:v>
                </c:pt>
                <c:pt idx="1004">
                  <c:v>12/9/2014 16:43</c:v>
                </c:pt>
                <c:pt idx="1005">
                  <c:v>12/9/2014 16:44</c:v>
                </c:pt>
                <c:pt idx="1006">
                  <c:v>12/9/2014 16:45</c:v>
                </c:pt>
                <c:pt idx="1007">
                  <c:v>12/9/2014 16:46</c:v>
                </c:pt>
                <c:pt idx="1008">
                  <c:v>12/9/2014 16:47</c:v>
                </c:pt>
                <c:pt idx="1009">
                  <c:v>12/9/2014 16:48</c:v>
                </c:pt>
                <c:pt idx="1010">
                  <c:v>12/9/2014 16:49</c:v>
                </c:pt>
                <c:pt idx="1011">
                  <c:v>12/9/2014 16:50</c:v>
                </c:pt>
                <c:pt idx="1012">
                  <c:v>12/9/2014 16:51</c:v>
                </c:pt>
                <c:pt idx="1013">
                  <c:v>12/9/2014 16:52</c:v>
                </c:pt>
                <c:pt idx="1014">
                  <c:v>12/9/2014 16:53</c:v>
                </c:pt>
                <c:pt idx="1015">
                  <c:v>12/9/2014 16:54</c:v>
                </c:pt>
                <c:pt idx="1016">
                  <c:v>12/9/2014 16:55</c:v>
                </c:pt>
                <c:pt idx="1017">
                  <c:v>12/9/2014 16:56</c:v>
                </c:pt>
                <c:pt idx="1018">
                  <c:v>12/9/2014 16:57</c:v>
                </c:pt>
                <c:pt idx="1019">
                  <c:v>12/9/2014 16:58</c:v>
                </c:pt>
                <c:pt idx="1020">
                  <c:v>12/9/2014 16:59</c:v>
                </c:pt>
                <c:pt idx="1021">
                  <c:v>12/9/2014 17:00</c:v>
                </c:pt>
                <c:pt idx="1022">
                  <c:v>12/9/2014 17:01</c:v>
                </c:pt>
                <c:pt idx="1023">
                  <c:v>12/9/2014 17:02</c:v>
                </c:pt>
                <c:pt idx="1024">
                  <c:v>12/9/2014 17:03</c:v>
                </c:pt>
                <c:pt idx="1025">
                  <c:v>12/9/2014 17:04</c:v>
                </c:pt>
                <c:pt idx="1026">
                  <c:v>12/9/2014 17:05</c:v>
                </c:pt>
                <c:pt idx="1027">
                  <c:v>12/9/2014 17:06</c:v>
                </c:pt>
                <c:pt idx="1028">
                  <c:v>12/9/2014 17:07</c:v>
                </c:pt>
                <c:pt idx="1029">
                  <c:v>12/9/2014 17:08</c:v>
                </c:pt>
                <c:pt idx="1030">
                  <c:v>12/9/2014 17:09</c:v>
                </c:pt>
                <c:pt idx="1031">
                  <c:v>12/9/2014 17:10</c:v>
                </c:pt>
                <c:pt idx="1032">
                  <c:v>12/9/2014 17:11</c:v>
                </c:pt>
                <c:pt idx="1033">
                  <c:v>12/9/2014 17:12</c:v>
                </c:pt>
                <c:pt idx="1034">
                  <c:v>12/9/2014 17:13</c:v>
                </c:pt>
                <c:pt idx="1035">
                  <c:v>12/9/2014 17:14</c:v>
                </c:pt>
                <c:pt idx="1036">
                  <c:v>12/9/2014 17:15</c:v>
                </c:pt>
                <c:pt idx="1037">
                  <c:v>12/9/2014 17:16</c:v>
                </c:pt>
                <c:pt idx="1038">
                  <c:v>12/9/2014 17:17</c:v>
                </c:pt>
                <c:pt idx="1039">
                  <c:v>12/9/2014 17:18</c:v>
                </c:pt>
                <c:pt idx="1040">
                  <c:v>12/9/2014 17:19</c:v>
                </c:pt>
                <c:pt idx="1041">
                  <c:v>12/9/2014 17:20</c:v>
                </c:pt>
                <c:pt idx="1042">
                  <c:v>12/9/2014 17:21</c:v>
                </c:pt>
                <c:pt idx="1043">
                  <c:v>12/9/2014 17:22</c:v>
                </c:pt>
                <c:pt idx="1044">
                  <c:v>12/9/2014 17:23</c:v>
                </c:pt>
                <c:pt idx="1045">
                  <c:v>12/9/2014 17:24</c:v>
                </c:pt>
                <c:pt idx="1046">
                  <c:v>12/9/2014 17:25</c:v>
                </c:pt>
                <c:pt idx="1047">
                  <c:v>12/9/2014 17:26</c:v>
                </c:pt>
                <c:pt idx="1048">
                  <c:v>12/9/2014 17:27</c:v>
                </c:pt>
                <c:pt idx="1049">
                  <c:v>12/9/2014 17:28</c:v>
                </c:pt>
                <c:pt idx="1050">
                  <c:v>12/9/2014 17:29</c:v>
                </c:pt>
                <c:pt idx="1051">
                  <c:v>12/9/2014 17:30</c:v>
                </c:pt>
                <c:pt idx="1052">
                  <c:v>12/9/2014 17:31</c:v>
                </c:pt>
                <c:pt idx="1053">
                  <c:v>12/9/2014 17:32</c:v>
                </c:pt>
                <c:pt idx="1054">
                  <c:v>12/9/2014 17:33</c:v>
                </c:pt>
                <c:pt idx="1055">
                  <c:v>12/9/2014 17:34</c:v>
                </c:pt>
                <c:pt idx="1056">
                  <c:v>12/9/2014 17:35</c:v>
                </c:pt>
                <c:pt idx="1057">
                  <c:v>12/9/2014 17:36</c:v>
                </c:pt>
                <c:pt idx="1058">
                  <c:v>12/9/2014 17:37</c:v>
                </c:pt>
                <c:pt idx="1059">
                  <c:v>12/9/2014 17:38</c:v>
                </c:pt>
                <c:pt idx="1060">
                  <c:v>12/9/2014 17:39</c:v>
                </c:pt>
                <c:pt idx="1061">
                  <c:v>12/9/2014 17:40</c:v>
                </c:pt>
                <c:pt idx="1062">
                  <c:v>12/9/2014 17:41</c:v>
                </c:pt>
                <c:pt idx="1063">
                  <c:v>12/9/2014 17:42</c:v>
                </c:pt>
                <c:pt idx="1064">
                  <c:v>12/9/2014 17:43</c:v>
                </c:pt>
                <c:pt idx="1065">
                  <c:v>12/9/2014 17:44</c:v>
                </c:pt>
                <c:pt idx="1066">
                  <c:v>12/9/2014 17:45</c:v>
                </c:pt>
                <c:pt idx="1067">
                  <c:v>12/9/2014 17:46</c:v>
                </c:pt>
                <c:pt idx="1068">
                  <c:v>12/9/2014 17:47</c:v>
                </c:pt>
                <c:pt idx="1069">
                  <c:v>12/9/2014 17:48</c:v>
                </c:pt>
                <c:pt idx="1070">
                  <c:v>12/9/2014 17:49</c:v>
                </c:pt>
                <c:pt idx="1071">
                  <c:v>12/9/2014 17:50</c:v>
                </c:pt>
                <c:pt idx="1072">
                  <c:v>12/9/2014 17:51</c:v>
                </c:pt>
                <c:pt idx="1073">
                  <c:v>12/9/2014 17:52</c:v>
                </c:pt>
                <c:pt idx="1074">
                  <c:v>12/9/2014 17:53</c:v>
                </c:pt>
                <c:pt idx="1075">
                  <c:v>12/9/2014 17:54</c:v>
                </c:pt>
                <c:pt idx="1076">
                  <c:v>12/9/2014 17:55</c:v>
                </c:pt>
                <c:pt idx="1077">
                  <c:v>12/9/2014 17:56</c:v>
                </c:pt>
                <c:pt idx="1078">
                  <c:v>12/9/2014 17:57</c:v>
                </c:pt>
                <c:pt idx="1079">
                  <c:v>12/9/2014 17:58</c:v>
                </c:pt>
                <c:pt idx="1080">
                  <c:v>12/9/2014 17:59</c:v>
                </c:pt>
                <c:pt idx="1081">
                  <c:v>12/9/2014 18:00</c:v>
                </c:pt>
                <c:pt idx="1082">
                  <c:v>12/9/2014 18:01</c:v>
                </c:pt>
                <c:pt idx="1083">
                  <c:v>12/9/2014 18:02</c:v>
                </c:pt>
                <c:pt idx="1084">
                  <c:v>12/9/2014 18:03</c:v>
                </c:pt>
                <c:pt idx="1085">
                  <c:v>12/9/2014 18:04</c:v>
                </c:pt>
                <c:pt idx="1086">
                  <c:v>12/9/2014 18:05</c:v>
                </c:pt>
                <c:pt idx="1087">
                  <c:v>12/9/2014 18:06</c:v>
                </c:pt>
                <c:pt idx="1088">
                  <c:v>12/9/2014 18:07</c:v>
                </c:pt>
                <c:pt idx="1089">
                  <c:v>12/9/2014 18:08</c:v>
                </c:pt>
                <c:pt idx="1090">
                  <c:v>12/9/2014 18:09</c:v>
                </c:pt>
                <c:pt idx="1091">
                  <c:v>12/9/2014 18:10</c:v>
                </c:pt>
                <c:pt idx="1092">
                  <c:v>12/9/2014 18:11</c:v>
                </c:pt>
                <c:pt idx="1093">
                  <c:v>12/9/2014 18:12</c:v>
                </c:pt>
                <c:pt idx="1094">
                  <c:v>12/9/2014 18:13</c:v>
                </c:pt>
                <c:pt idx="1095">
                  <c:v>12/9/2014 18:14</c:v>
                </c:pt>
                <c:pt idx="1096">
                  <c:v>12/9/2014 18:15</c:v>
                </c:pt>
                <c:pt idx="1097">
                  <c:v>12/9/2014 18:16</c:v>
                </c:pt>
                <c:pt idx="1098">
                  <c:v>12/9/2014 18:17</c:v>
                </c:pt>
                <c:pt idx="1099">
                  <c:v>12/9/2014 18:18</c:v>
                </c:pt>
                <c:pt idx="1100">
                  <c:v>12/9/2014 18:19</c:v>
                </c:pt>
                <c:pt idx="1101">
                  <c:v>12/9/2014 18:20</c:v>
                </c:pt>
                <c:pt idx="1102">
                  <c:v>12/9/2014 18:21</c:v>
                </c:pt>
                <c:pt idx="1103">
                  <c:v>12/9/2014 18:22</c:v>
                </c:pt>
                <c:pt idx="1104">
                  <c:v>12/9/2014 18:23</c:v>
                </c:pt>
                <c:pt idx="1105">
                  <c:v>12/9/2014 18:24</c:v>
                </c:pt>
                <c:pt idx="1106">
                  <c:v>12/9/2014 18:25</c:v>
                </c:pt>
                <c:pt idx="1107">
                  <c:v>12/9/2014 18:26</c:v>
                </c:pt>
                <c:pt idx="1108">
                  <c:v>12/9/2014 18:27</c:v>
                </c:pt>
                <c:pt idx="1109">
                  <c:v>12/9/2014 18:28</c:v>
                </c:pt>
                <c:pt idx="1110">
                  <c:v>12/9/2014 18:29</c:v>
                </c:pt>
                <c:pt idx="1111">
                  <c:v>12/9/2014 18:30</c:v>
                </c:pt>
                <c:pt idx="1112">
                  <c:v>12/9/2014 18:31</c:v>
                </c:pt>
                <c:pt idx="1113">
                  <c:v>12/9/2014 18:32</c:v>
                </c:pt>
                <c:pt idx="1114">
                  <c:v>12/9/2014 18:33</c:v>
                </c:pt>
                <c:pt idx="1115">
                  <c:v>12/9/2014 18:34</c:v>
                </c:pt>
                <c:pt idx="1116">
                  <c:v>12/9/2014 18:35</c:v>
                </c:pt>
                <c:pt idx="1117">
                  <c:v>12/9/2014 18:36</c:v>
                </c:pt>
                <c:pt idx="1118">
                  <c:v>12/9/2014 18:37</c:v>
                </c:pt>
                <c:pt idx="1119">
                  <c:v>12/9/2014 18:38</c:v>
                </c:pt>
                <c:pt idx="1120">
                  <c:v>12/9/2014 18:39</c:v>
                </c:pt>
                <c:pt idx="1121">
                  <c:v>12/9/2014 18:40</c:v>
                </c:pt>
                <c:pt idx="1122">
                  <c:v>12/9/2014 18:41</c:v>
                </c:pt>
                <c:pt idx="1123">
                  <c:v>12/9/2014 18:42</c:v>
                </c:pt>
                <c:pt idx="1124">
                  <c:v>12/9/2014 18:43</c:v>
                </c:pt>
                <c:pt idx="1125">
                  <c:v>12/9/2014 18:44</c:v>
                </c:pt>
                <c:pt idx="1126">
                  <c:v>12/9/2014 18:45</c:v>
                </c:pt>
                <c:pt idx="1127">
                  <c:v>12/9/2014 18:46</c:v>
                </c:pt>
                <c:pt idx="1128">
                  <c:v>12/9/2014 18:47</c:v>
                </c:pt>
                <c:pt idx="1129">
                  <c:v>12/9/2014 18:48</c:v>
                </c:pt>
                <c:pt idx="1130">
                  <c:v>12/9/2014 18:49</c:v>
                </c:pt>
                <c:pt idx="1131">
                  <c:v>12/9/2014 18:50</c:v>
                </c:pt>
                <c:pt idx="1132">
                  <c:v>12/9/2014 18:51</c:v>
                </c:pt>
                <c:pt idx="1133">
                  <c:v>12/9/2014 18:52</c:v>
                </c:pt>
                <c:pt idx="1134">
                  <c:v>12/9/2014 18:53</c:v>
                </c:pt>
                <c:pt idx="1135">
                  <c:v>12/9/2014 18:54</c:v>
                </c:pt>
                <c:pt idx="1136">
                  <c:v>12/9/2014 18:55</c:v>
                </c:pt>
                <c:pt idx="1137">
                  <c:v>12/9/2014 18:56</c:v>
                </c:pt>
                <c:pt idx="1138">
                  <c:v>12/9/2014 18:57</c:v>
                </c:pt>
                <c:pt idx="1139">
                  <c:v>12/9/2014 18:58</c:v>
                </c:pt>
                <c:pt idx="1140">
                  <c:v>12/9/2014 18:59</c:v>
                </c:pt>
                <c:pt idx="1141">
                  <c:v>12/9/2014 19:00</c:v>
                </c:pt>
                <c:pt idx="1142">
                  <c:v>12/9/2014 19:01</c:v>
                </c:pt>
                <c:pt idx="1143">
                  <c:v>12/9/2014 19:02</c:v>
                </c:pt>
                <c:pt idx="1144">
                  <c:v>12/9/2014 19:03</c:v>
                </c:pt>
                <c:pt idx="1145">
                  <c:v>12/9/2014 19:04</c:v>
                </c:pt>
                <c:pt idx="1146">
                  <c:v>12/9/2014 19:05</c:v>
                </c:pt>
                <c:pt idx="1147">
                  <c:v>12/9/2014 19:06</c:v>
                </c:pt>
                <c:pt idx="1148">
                  <c:v>12/9/2014 19:07</c:v>
                </c:pt>
                <c:pt idx="1149">
                  <c:v>12/9/2014 19:08</c:v>
                </c:pt>
                <c:pt idx="1150">
                  <c:v>12/9/2014 19:09</c:v>
                </c:pt>
                <c:pt idx="1151">
                  <c:v>12/9/2014 19:10</c:v>
                </c:pt>
                <c:pt idx="1152">
                  <c:v>12/9/2014 19:11</c:v>
                </c:pt>
                <c:pt idx="1153">
                  <c:v>12/9/2014 19:12</c:v>
                </c:pt>
                <c:pt idx="1154">
                  <c:v>12/9/2014 19:13</c:v>
                </c:pt>
                <c:pt idx="1155">
                  <c:v>12/9/2014 19:14</c:v>
                </c:pt>
                <c:pt idx="1156">
                  <c:v>12/9/2014 19:15</c:v>
                </c:pt>
                <c:pt idx="1157">
                  <c:v>12/9/2014 19:16</c:v>
                </c:pt>
                <c:pt idx="1158">
                  <c:v>12/9/2014 19:17</c:v>
                </c:pt>
                <c:pt idx="1159">
                  <c:v>12/9/2014 19:18</c:v>
                </c:pt>
                <c:pt idx="1160">
                  <c:v>12/9/2014 19:19</c:v>
                </c:pt>
                <c:pt idx="1161">
                  <c:v>12/9/2014 19:20</c:v>
                </c:pt>
                <c:pt idx="1162">
                  <c:v>12/9/2014 19:21</c:v>
                </c:pt>
                <c:pt idx="1163">
                  <c:v>12/9/2014 19:22</c:v>
                </c:pt>
                <c:pt idx="1164">
                  <c:v>12/9/2014 19:23</c:v>
                </c:pt>
                <c:pt idx="1165">
                  <c:v>12/9/2014 19:24</c:v>
                </c:pt>
                <c:pt idx="1166">
                  <c:v>12/9/2014 19:25</c:v>
                </c:pt>
                <c:pt idx="1167">
                  <c:v>12/9/2014 19:26</c:v>
                </c:pt>
                <c:pt idx="1168">
                  <c:v>12/9/2014 19:27</c:v>
                </c:pt>
                <c:pt idx="1169">
                  <c:v>12/9/2014 19:28</c:v>
                </c:pt>
                <c:pt idx="1170">
                  <c:v>12/9/2014 19:29</c:v>
                </c:pt>
                <c:pt idx="1171">
                  <c:v>12/9/2014 19:30</c:v>
                </c:pt>
                <c:pt idx="1172">
                  <c:v>12/9/2014 19:31</c:v>
                </c:pt>
                <c:pt idx="1173">
                  <c:v>12/9/2014 19:32</c:v>
                </c:pt>
                <c:pt idx="1174">
                  <c:v>12/9/2014 19:33</c:v>
                </c:pt>
                <c:pt idx="1175">
                  <c:v>12/9/2014 19:34</c:v>
                </c:pt>
                <c:pt idx="1176">
                  <c:v>12/9/2014 19:35</c:v>
                </c:pt>
                <c:pt idx="1177">
                  <c:v>12/9/2014 19:36</c:v>
                </c:pt>
                <c:pt idx="1178">
                  <c:v>12/9/2014 19:37</c:v>
                </c:pt>
                <c:pt idx="1179">
                  <c:v>12/9/2014 19:38</c:v>
                </c:pt>
                <c:pt idx="1180">
                  <c:v>12/9/2014 19:39</c:v>
                </c:pt>
                <c:pt idx="1181">
                  <c:v>12/9/2014 19:40</c:v>
                </c:pt>
                <c:pt idx="1182">
                  <c:v>12/9/2014 19:41</c:v>
                </c:pt>
                <c:pt idx="1183">
                  <c:v>12/9/2014 19:42</c:v>
                </c:pt>
                <c:pt idx="1184">
                  <c:v>12/9/2014 19:43</c:v>
                </c:pt>
                <c:pt idx="1185">
                  <c:v>12/9/2014 19:44</c:v>
                </c:pt>
                <c:pt idx="1186">
                  <c:v>12/9/2014 19:45</c:v>
                </c:pt>
                <c:pt idx="1187">
                  <c:v>12/9/2014 19:46</c:v>
                </c:pt>
                <c:pt idx="1188">
                  <c:v>12/9/2014 19:47</c:v>
                </c:pt>
                <c:pt idx="1189">
                  <c:v>12/9/2014 19:48</c:v>
                </c:pt>
                <c:pt idx="1190">
                  <c:v>12/9/2014 19:49</c:v>
                </c:pt>
                <c:pt idx="1191">
                  <c:v>12/9/2014 19:50</c:v>
                </c:pt>
                <c:pt idx="1192">
                  <c:v>12/9/2014 19:51</c:v>
                </c:pt>
                <c:pt idx="1193">
                  <c:v>12/9/2014 19:52</c:v>
                </c:pt>
                <c:pt idx="1194">
                  <c:v>12/9/2014 19:53</c:v>
                </c:pt>
                <c:pt idx="1195">
                  <c:v>12/9/2014 19:54</c:v>
                </c:pt>
                <c:pt idx="1196">
                  <c:v>12/9/2014 19:55</c:v>
                </c:pt>
                <c:pt idx="1197">
                  <c:v>12/9/2014 19:56</c:v>
                </c:pt>
                <c:pt idx="1198">
                  <c:v>12/9/2014 19:57</c:v>
                </c:pt>
                <c:pt idx="1199">
                  <c:v>12/9/2014 19:58</c:v>
                </c:pt>
                <c:pt idx="1200">
                  <c:v>12/9/2014 19:59</c:v>
                </c:pt>
                <c:pt idx="1201">
                  <c:v>12/9/2014 20:00</c:v>
                </c:pt>
                <c:pt idx="1202">
                  <c:v>12/9/2014 20:01</c:v>
                </c:pt>
                <c:pt idx="1203">
                  <c:v>12/9/2014 20:02</c:v>
                </c:pt>
                <c:pt idx="1204">
                  <c:v>12/9/2014 20:03</c:v>
                </c:pt>
                <c:pt idx="1205">
                  <c:v>12/9/2014 20:04</c:v>
                </c:pt>
                <c:pt idx="1206">
                  <c:v>12/9/2014 20:05</c:v>
                </c:pt>
                <c:pt idx="1207">
                  <c:v>12/9/2014 20:06</c:v>
                </c:pt>
                <c:pt idx="1208">
                  <c:v>12/9/2014 20:07</c:v>
                </c:pt>
                <c:pt idx="1209">
                  <c:v>12/9/2014 20:08</c:v>
                </c:pt>
                <c:pt idx="1210">
                  <c:v>12/9/2014 20:09</c:v>
                </c:pt>
                <c:pt idx="1211">
                  <c:v>12/9/2014 20:10</c:v>
                </c:pt>
                <c:pt idx="1212">
                  <c:v>12/9/2014 20:11</c:v>
                </c:pt>
                <c:pt idx="1213">
                  <c:v>12/9/2014 20:12</c:v>
                </c:pt>
                <c:pt idx="1214">
                  <c:v>12/9/2014 20:13</c:v>
                </c:pt>
                <c:pt idx="1215">
                  <c:v>12/9/2014 20:14</c:v>
                </c:pt>
                <c:pt idx="1216">
                  <c:v>12/9/2014 20:15</c:v>
                </c:pt>
                <c:pt idx="1217">
                  <c:v>12/9/2014 20:16</c:v>
                </c:pt>
                <c:pt idx="1218">
                  <c:v>12/9/2014 20:17</c:v>
                </c:pt>
                <c:pt idx="1219">
                  <c:v>12/9/2014 20:18</c:v>
                </c:pt>
                <c:pt idx="1220">
                  <c:v>12/9/2014 20:19</c:v>
                </c:pt>
                <c:pt idx="1221">
                  <c:v>12/9/2014 20:20</c:v>
                </c:pt>
                <c:pt idx="1222">
                  <c:v>12/9/2014 20:21</c:v>
                </c:pt>
                <c:pt idx="1223">
                  <c:v>12/9/2014 20:22</c:v>
                </c:pt>
                <c:pt idx="1224">
                  <c:v>12/9/2014 20:23</c:v>
                </c:pt>
                <c:pt idx="1225">
                  <c:v>12/9/2014 20:24</c:v>
                </c:pt>
                <c:pt idx="1226">
                  <c:v>12/9/2014 20:25</c:v>
                </c:pt>
                <c:pt idx="1227">
                  <c:v>12/9/2014 20:26</c:v>
                </c:pt>
                <c:pt idx="1228">
                  <c:v>12/9/2014 20:27</c:v>
                </c:pt>
                <c:pt idx="1229">
                  <c:v>12/9/2014 20:28</c:v>
                </c:pt>
                <c:pt idx="1230">
                  <c:v>12/9/2014 20:29</c:v>
                </c:pt>
                <c:pt idx="1231">
                  <c:v>12/9/2014 20:30</c:v>
                </c:pt>
                <c:pt idx="1232">
                  <c:v>12/9/2014 20:31</c:v>
                </c:pt>
                <c:pt idx="1233">
                  <c:v>12/9/2014 20:32</c:v>
                </c:pt>
                <c:pt idx="1234">
                  <c:v>12/9/2014 20:33</c:v>
                </c:pt>
                <c:pt idx="1235">
                  <c:v>12/9/2014 20:34</c:v>
                </c:pt>
                <c:pt idx="1236">
                  <c:v>12/9/2014 20:35</c:v>
                </c:pt>
                <c:pt idx="1237">
                  <c:v>12/9/2014 20:36</c:v>
                </c:pt>
                <c:pt idx="1238">
                  <c:v>12/9/2014 20:37</c:v>
                </c:pt>
                <c:pt idx="1239">
                  <c:v>12/9/2014 20:38</c:v>
                </c:pt>
                <c:pt idx="1240">
                  <c:v>12/9/2014 20:39</c:v>
                </c:pt>
                <c:pt idx="1241">
                  <c:v>12/9/2014 20:40</c:v>
                </c:pt>
                <c:pt idx="1242">
                  <c:v>12/9/2014 20:41</c:v>
                </c:pt>
                <c:pt idx="1243">
                  <c:v>12/9/2014 20:42</c:v>
                </c:pt>
                <c:pt idx="1244">
                  <c:v>12/9/2014 20:43</c:v>
                </c:pt>
                <c:pt idx="1245">
                  <c:v>12/9/2014 20:44</c:v>
                </c:pt>
                <c:pt idx="1246">
                  <c:v>12/9/2014 20:45</c:v>
                </c:pt>
                <c:pt idx="1247">
                  <c:v>12/9/2014 20:46</c:v>
                </c:pt>
                <c:pt idx="1248">
                  <c:v>12/9/2014 20:47</c:v>
                </c:pt>
                <c:pt idx="1249">
                  <c:v>12/9/2014 20:48</c:v>
                </c:pt>
                <c:pt idx="1250">
                  <c:v>12/9/2014 20:49</c:v>
                </c:pt>
                <c:pt idx="1251">
                  <c:v>12/9/2014 20:50</c:v>
                </c:pt>
                <c:pt idx="1252">
                  <c:v>12/9/2014 20:51</c:v>
                </c:pt>
                <c:pt idx="1253">
                  <c:v>12/9/2014 20:52</c:v>
                </c:pt>
                <c:pt idx="1254">
                  <c:v>12/9/2014 20:53</c:v>
                </c:pt>
                <c:pt idx="1255">
                  <c:v>12/9/2014 20:54</c:v>
                </c:pt>
                <c:pt idx="1256">
                  <c:v>12/9/2014 20:55</c:v>
                </c:pt>
                <c:pt idx="1257">
                  <c:v>12/9/2014 20:56</c:v>
                </c:pt>
                <c:pt idx="1258">
                  <c:v>12/9/2014 20:57</c:v>
                </c:pt>
                <c:pt idx="1259">
                  <c:v>12/9/2014 20:58</c:v>
                </c:pt>
                <c:pt idx="1260">
                  <c:v>12/9/2014 20:59</c:v>
                </c:pt>
                <c:pt idx="1261">
                  <c:v>12/9/2014 21:00</c:v>
                </c:pt>
                <c:pt idx="1262">
                  <c:v>12/9/2014 21:01</c:v>
                </c:pt>
                <c:pt idx="1263">
                  <c:v>12/9/2014 21:02</c:v>
                </c:pt>
                <c:pt idx="1264">
                  <c:v>12/9/2014 21:03</c:v>
                </c:pt>
                <c:pt idx="1265">
                  <c:v>12/9/2014 21:04</c:v>
                </c:pt>
                <c:pt idx="1266">
                  <c:v>12/9/2014 21:05</c:v>
                </c:pt>
                <c:pt idx="1267">
                  <c:v>12/9/2014 21:06</c:v>
                </c:pt>
                <c:pt idx="1268">
                  <c:v>12/9/2014 21:07</c:v>
                </c:pt>
                <c:pt idx="1269">
                  <c:v>12/9/2014 21:08</c:v>
                </c:pt>
                <c:pt idx="1270">
                  <c:v>12/9/2014 21:09</c:v>
                </c:pt>
                <c:pt idx="1271">
                  <c:v>12/9/2014 21:10</c:v>
                </c:pt>
                <c:pt idx="1272">
                  <c:v>12/9/2014 21:11</c:v>
                </c:pt>
                <c:pt idx="1273">
                  <c:v>12/9/2014 21:12</c:v>
                </c:pt>
                <c:pt idx="1274">
                  <c:v>12/9/2014 21:13</c:v>
                </c:pt>
                <c:pt idx="1275">
                  <c:v>12/9/2014 21:14</c:v>
                </c:pt>
                <c:pt idx="1276">
                  <c:v>12/9/2014 21:15</c:v>
                </c:pt>
                <c:pt idx="1277">
                  <c:v>12/9/2014 21:16</c:v>
                </c:pt>
                <c:pt idx="1278">
                  <c:v>12/9/2014 21:17</c:v>
                </c:pt>
                <c:pt idx="1279">
                  <c:v>12/9/2014 21:18</c:v>
                </c:pt>
                <c:pt idx="1280">
                  <c:v>12/9/2014 21:19</c:v>
                </c:pt>
                <c:pt idx="1281">
                  <c:v>12/9/2014 21:20</c:v>
                </c:pt>
                <c:pt idx="1282">
                  <c:v>12/9/2014 21:21</c:v>
                </c:pt>
                <c:pt idx="1283">
                  <c:v>12/9/2014 21:22</c:v>
                </c:pt>
                <c:pt idx="1284">
                  <c:v>12/9/2014 21:23</c:v>
                </c:pt>
                <c:pt idx="1285">
                  <c:v>12/9/2014 21:24</c:v>
                </c:pt>
                <c:pt idx="1286">
                  <c:v>12/9/2014 21:25</c:v>
                </c:pt>
                <c:pt idx="1287">
                  <c:v>12/9/2014 21:26</c:v>
                </c:pt>
                <c:pt idx="1288">
                  <c:v>12/9/2014 21:27</c:v>
                </c:pt>
                <c:pt idx="1289">
                  <c:v>12/9/2014 21:28</c:v>
                </c:pt>
                <c:pt idx="1290">
                  <c:v>12/9/2014 21:29</c:v>
                </c:pt>
                <c:pt idx="1291">
                  <c:v>12/9/2014 21:30</c:v>
                </c:pt>
                <c:pt idx="1292">
                  <c:v>12/9/2014 21:31</c:v>
                </c:pt>
                <c:pt idx="1293">
                  <c:v>12/9/2014 21:32</c:v>
                </c:pt>
                <c:pt idx="1294">
                  <c:v>12/9/2014 21:33</c:v>
                </c:pt>
                <c:pt idx="1295">
                  <c:v>12/9/2014 21:34</c:v>
                </c:pt>
                <c:pt idx="1296">
                  <c:v>12/9/2014 21:35</c:v>
                </c:pt>
                <c:pt idx="1297">
                  <c:v>12/9/2014 21:36</c:v>
                </c:pt>
                <c:pt idx="1298">
                  <c:v>12/9/2014 21:37</c:v>
                </c:pt>
                <c:pt idx="1299">
                  <c:v>12/9/2014 21:38</c:v>
                </c:pt>
                <c:pt idx="1300">
                  <c:v>12/9/2014 21:39</c:v>
                </c:pt>
                <c:pt idx="1301">
                  <c:v>12/9/2014 21:40</c:v>
                </c:pt>
                <c:pt idx="1302">
                  <c:v>12/9/2014 21:41</c:v>
                </c:pt>
                <c:pt idx="1303">
                  <c:v>12/9/2014 21:42</c:v>
                </c:pt>
                <c:pt idx="1304">
                  <c:v>12/9/2014 21:43</c:v>
                </c:pt>
                <c:pt idx="1305">
                  <c:v>12/9/2014 21:44</c:v>
                </c:pt>
                <c:pt idx="1306">
                  <c:v>12/9/2014 21:45</c:v>
                </c:pt>
                <c:pt idx="1307">
                  <c:v>12/9/2014 21:46</c:v>
                </c:pt>
                <c:pt idx="1308">
                  <c:v>12/9/2014 21:47</c:v>
                </c:pt>
                <c:pt idx="1309">
                  <c:v>12/9/2014 21:48</c:v>
                </c:pt>
                <c:pt idx="1310">
                  <c:v>12/9/2014 21:49</c:v>
                </c:pt>
                <c:pt idx="1311">
                  <c:v>12/9/2014 21:50</c:v>
                </c:pt>
                <c:pt idx="1312">
                  <c:v>12/9/2014 21:51</c:v>
                </c:pt>
                <c:pt idx="1313">
                  <c:v>12/9/2014 21:52</c:v>
                </c:pt>
                <c:pt idx="1314">
                  <c:v>12/9/2014 21:53</c:v>
                </c:pt>
                <c:pt idx="1315">
                  <c:v>12/9/2014 21:54</c:v>
                </c:pt>
                <c:pt idx="1316">
                  <c:v>12/9/2014 21:55</c:v>
                </c:pt>
                <c:pt idx="1317">
                  <c:v>12/9/2014 21:56</c:v>
                </c:pt>
                <c:pt idx="1318">
                  <c:v>12/9/2014 21:57</c:v>
                </c:pt>
                <c:pt idx="1319">
                  <c:v>12/9/2014 21:58</c:v>
                </c:pt>
                <c:pt idx="1320">
                  <c:v>12/9/2014 21:59</c:v>
                </c:pt>
                <c:pt idx="1321">
                  <c:v>12/9/2014 22:00</c:v>
                </c:pt>
                <c:pt idx="1322">
                  <c:v>12/9/2014 22:01</c:v>
                </c:pt>
                <c:pt idx="1323">
                  <c:v>12/9/2014 22:02</c:v>
                </c:pt>
                <c:pt idx="1324">
                  <c:v>12/9/2014 22:03</c:v>
                </c:pt>
                <c:pt idx="1325">
                  <c:v>12/9/2014 22:04</c:v>
                </c:pt>
                <c:pt idx="1326">
                  <c:v>12/9/2014 22:05</c:v>
                </c:pt>
                <c:pt idx="1327">
                  <c:v>12/9/2014 22:06</c:v>
                </c:pt>
                <c:pt idx="1328">
                  <c:v>12/9/2014 22:07</c:v>
                </c:pt>
                <c:pt idx="1329">
                  <c:v>12/9/2014 22:08</c:v>
                </c:pt>
                <c:pt idx="1330">
                  <c:v>12/9/2014 22:09</c:v>
                </c:pt>
                <c:pt idx="1331">
                  <c:v>12/9/2014 22:10</c:v>
                </c:pt>
                <c:pt idx="1332">
                  <c:v>12/9/2014 22:11</c:v>
                </c:pt>
                <c:pt idx="1333">
                  <c:v>12/9/2014 22:12</c:v>
                </c:pt>
                <c:pt idx="1334">
                  <c:v>12/9/2014 22:13</c:v>
                </c:pt>
                <c:pt idx="1335">
                  <c:v>12/9/2014 22:14</c:v>
                </c:pt>
                <c:pt idx="1336">
                  <c:v>12/9/2014 22:15</c:v>
                </c:pt>
                <c:pt idx="1337">
                  <c:v>12/9/2014 22:16</c:v>
                </c:pt>
                <c:pt idx="1338">
                  <c:v>12/9/2014 22:17</c:v>
                </c:pt>
                <c:pt idx="1339">
                  <c:v>12/9/2014 22:18</c:v>
                </c:pt>
                <c:pt idx="1340">
                  <c:v>12/9/2014 22:19</c:v>
                </c:pt>
                <c:pt idx="1341">
                  <c:v>12/9/2014 22:20</c:v>
                </c:pt>
                <c:pt idx="1342">
                  <c:v>12/9/2014 22:21</c:v>
                </c:pt>
                <c:pt idx="1343">
                  <c:v>12/9/2014 22:22</c:v>
                </c:pt>
                <c:pt idx="1344">
                  <c:v>12/9/2014 22:23</c:v>
                </c:pt>
                <c:pt idx="1345">
                  <c:v>12/9/2014 22:24</c:v>
                </c:pt>
                <c:pt idx="1346">
                  <c:v>12/9/2014 22:25</c:v>
                </c:pt>
                <c:pt idx="1347">
                  <c:v>12/9/2014 22:26</c:v>
                </c:pt>
                <c:pt idx="1348">
                  <c:v>12/9/2014 22:27</c:v>
                </c:pt>
                <c:pt idx="1349">
                  <c:v>12/9/2014 22:28</c:v>
                </c:pt>
                <c:pt idx="1350">
                  <c:v>12/9/2014 22:29</c:v>
                </c:pt>
                <c:pt idx="1351">
                  <c:v>12/9/2014 22:30</c:v>
                </c:pt>
                <c:pt idx="1352">
                  <c:v>12/9/2014 22:31</c:v>
                </c:pt>
                <c:pt idx="1353">
                  <c:v>12/9/2014 22:32</c:v>
                </c:pt>
                <c:pt idx="1354">
                  <c:v>12/9/2014 22:33</c:v>
                </c:pt>
                <c:pt idx="1355">
                  <c:v>12/9/2014 22:34</c:v>
                </c:pt>
                <c:pt idx="1356">
                  <c:v>12/9/2014 22:35</c:v>
                </c:pt>
                <c:pt idx="1357">
                  <c:v>12/9/2014 22:36</c:v>
                </c:pt>
                <c:pt idx="1358">
                  <c:v>12/9/2014 22:37</c:v>
                </c:pt>
                <c:pt idx="1359">
                  <c:v>12/9/2014 22:38</c:v>
                </c:pt>
                <c:pt idx="1360">
                  <c:v>12/9/2014 22:39</c:v>
                </c:pt>
                <c:pt idx="1361">
                  <c:v>12/9/2014 22:40</c:v>
                </c:pt>
                <c:pt idx="1362">
                  <c:v>12/9/2014 22:41</c:v>
                </c:pt>
                <c:pt idx="1363">
                  <c:v>12/9/2014 22:42</c:v>
                </c:pt>
                <c:pt idx="1364">
                  <c:v>12/9/2014 22:43</c:v>
                </c:pt>
                <c:pt idx="1365">
                  <c:v>12/9/2014 22:44</c:v>
                </c:pt>
                <c:pt idx="1366">
                  <c:v>12/9/2014 22:45</c:v>
                </c:pt>
                <c:pt idx="1367">
                  <c:v>12/9/2014 22:46</c:v>
                </c:pt>
                <c:pt idx="1368">
                  <c:v>12/9/2014 22:47</c:v>
                </c:pt>
                <c:pt idx="1369">
                  <c:v>12/9/2014 22:48</c:v>
                </c:pt>
                <c:pt idx="1370">
                  <c:v>12/9/2014 22:49</c:v>
                </c:pt>
                <c:pt idx="1371">
                  <c:v>12/9/2014 22:50</c:v>
                </c:pt>
                <c:pt idx="1372">
                  <c:v>12/9/2014 22:51</c:v>
                </c:pt>
                <c:pt idx="1373">
                  <c:v>12/9/2014 22:52</c:v>
                </c:pt>
                <c:pt idx="1374">
                  <c:v>12/9/2014 22:53</c:v>
                </c:pt>
                <c:pt idx="1375">
                  <c:v>12/9/2014 22:54</c:v>
                </c:pt>
                <c:pt idx="1376">
                  <c:v>12/9/2014 22:55</c:v>
                </c:pt>
                <c:pt idx="1377">
                  <c:v>12/9/2014 22:56</c:v>
                </c:pt>
                <c:pt idx="1378">
                  <c:v>12/9/2014 22:57</c:v>
                </c:pt>
                <c:pt idx="1379">
                  <c:v>12/9/2014 22:58</c:v>
                </c:pt>
                <c:pt idx="1380">
                  <c:v>12/9/2014 22:59</c:v>
                </c:pt>
                <c:pt idx="1381">
                  <c:v>12/9/2014 23:00</c:v>
                </c:pt>
                <c:pt idx="1382">
                  <c:v>12/9/2014 23:01</c:v>
                </c:pt>
                <c:pt idx="1383">
                  <c:v>12/9/2014 23:02</c:v>
                </c:pt>
                <c:pt idx="1384">
                  <c:v>12/9/2014 23:03</c:v>
                </c:pt>
                <c:pt idx="1385">
                  <c:v>12/9/2014 23:04</c:v>
                </c:pt>
                <c:pt idx="1386">
                  <c:v>12/9/2014 23:05</c:v>
                </c:pt>
                <c:pt idx="1387">
                  <c:v>12/9/2014 23:06</c:v>
                </c:pt>
                <c:pt idx="1388">
                  <c:v>12/9/2014 23:07</c:v>
                </c:pt>
                <c:pt idx="1389">
                  <c:v>12/9/2014 23:08</c:v>
                </c:pt>
                <c:pt idx="1390">
                  <c:v>12/9/2014 23:09</c:v>
                </c:pt>
                <c:pt idx="1391">
                  <c:v>12/9/2014 23:10</c:v>
                </c:pt>
                <c:pt idx="1392">
                  <c:v>12/9/2014 23:11</c:v>
                </c:pt>
                <c:pt idx="1393">
                  <c:v>12/9/2014 23:12</c:v>
                </c:pt>
                <c:pt idx="1394">
                  <c:v>12/9/2014 23:13</c:v>
                </c:pt>
                <c:pt idx="1395">
                  <c:v>12/9/2014 23:14</c:v>
                </c:pt>
                <c:pt idx="1396">
                  <c:v>12/9/2014 23:15</c:v>
                </c:pt>
                <c:pt idx="1397">
                  <c:v>12/9/2014 23:16</c:v>
                </c:pt>
                <c:pt idx="1398">
                  <c:v>12/9/2014 23:17</c:v>
                </c:pt>
                <c:pt idx="1399">
                  <c:v>12/9/2014 23:18</c:v>
                </c:pt>
                <c:pt idx="1400">
                  <c:v>12/9/2014 23:19</c:v>
                </c:pt>
                <c:pt idx="1401">
                  <c:v>12/9/2014 23:20</c:v>
                </c:pt>
                <c:pt idx="1402">
                  <c:v>12/9/2014 23:21</c:v>
                </c:pt>
                <c:pt idx="1403">
                  <c:v>12/9/2014 23:22</c:v>
                </c:pt>
                <c:pt idx="1404">
                  <c:v>12/9/2014 23:23</c:v>
                </c:pt>
                <c:pt idx="1405">
                  <c:v>12/9/2014 23:24</c:v>
                </c:pt>
                <c:pt idx="1406">
                  <c:v>12/9/2014 23:25</c:v>
                </c:pt>
                <c:pt idx="1407">
                  <c:v>12/9/2014 23:26</c:v>
                </c:pt>
                <c:pt idx="1408">
                  <c:v>12/9/2014 23:27</c:v>
                </c:pt>
                <c:pt idx="1409">
                  <c:v>12/9/2014 23:28</c:v>
                </c:pt>
                <c:pt idx="1410">
                  <c:v>12/9/2014 23:29</c:v>
                </c:pt>
                <c:pt idx="1411">
                  <c:v>12/9/2014 23:30</c:v>
                </c:pt>
                <c:pt idx="1412">
                  <c:v>12/9/2014 23:31</c:v>
                </c:pt>
                <c:pt idx="1413">
                  <c:v>12/9/2014 23:32</c:v>
                </c:pt>
                <c:pt idx="1414">
                  <c:v>12/9/2014 23:33</c:v>
                </c:pt>
                <c:pt idx="1415">
                  <c:v>12/9/2014 23:34</c:v>
                </c:pt>
                <c:pt idx="1416">
                  <c:v>12/9/2014 23:35</c:v>
                </c:pt>
                <c:pt idx="1417">
                  <c:v>12/9/2014 23:36</c:v>
                </c:pt>
                <c:pt idx="1418">
                  <c:v>12/9/2014 23:37</c:v>
                </c:pt>
                <c:pt idx="1419">
                  <c:v>12/9/2014 23:38</c:v>
                </c:pt>
                <c:pt idx="1420">
                  <c:v>12/9/2014 23:39</c:v>
                </c:pt>
                <c:pt idx="1421">
                  <c:v>12/9/2014 23:40</c:v>
                </c:pt>
                <c:pt idx="1422">
                  <c:v>12/9/2014 23:41</c:v>
                </c:pt>
                <c:pt idx="1423">
                  <c:v>12/9/2014 23:42</c:v>
                </c:pt>
                <c:pt idx="1424">
                  <c:v>12/9/2014 23:43</c:v>
                </c:pt>
                <c:pt idx="1425">
                  <c:v>12/9/2014 23:44</c:v>
                </c:pt>
                <c:pt idx="1426">
                  <c:v>12/9/2014 23:45</c:v>
                </c:pt>
                <c:pt idx="1427">
                  <c:v>12/9/2014 23:46</c:v>
                </c:pt>
                <c:pt idx="1428">
                  <c:v>12/9/2014 23:47</c:v>
                </c:pt>
                <c:pt idx="1429">
                  <c:v>12/9/2014 23:48</c:v>
                </c:pt>
                <c:pt idx="1430">
                  <c:v>12/9/2014 23:49</c:v>
                </c:pt>
                <c:pt idx="1431">
                  <c:v>12/9/2014 23:50</c:v>
                </c:pt>
                <c:pt idx="1432">
                  <c:v>12/9/2014 23:51</c:v>
                </c:pt>
                <c:pt idx="1433">
                  <c:v>12/9/2014 23:52</c:v>
                </c:pt>
                <c:pt idx="1434">
                  <c:v>12/9/2014 23:53</c:v>
                </c:pt>
                <c:pt idx="1435">
                  <c:v>12/9/2014 23:54</c:v>
                </c:pt>
                <c:pt idx="1436">
                  <c:v>12/9/2014 23:55</c:v>
                </c:pt>
                <c:pt idx="1437">
                  <c:v>12/9/2014 23:56</c:v>
                </c:pt>
                <c:pt idx="1438">
                  <c:v>12/9/2014 23:57</c:v>
                </c:pt>
                <c:pt idx="1439">
                  <c:v>12/9/2014 23:58</c:v>
                </c:pt>
                <c:pt idx="1440">
                  <c:v>12/9/2014 23:59</c:v>
                </c:pt>
                <c:pt idx="1441">
                  <c:v>12/10/2014 0:00</c:v>
                </c:pt>
                <c:pt idx="1442">
                  <c:v>12/10/2014 0:01</c:v>
                </c:pt>
                <c:pt idx="1443">
                  <c:v>12/10/2014 0:02</c:v>
                </c:pt>
                <c:pt idx="1444">
                  <c:v>12/10/2014 0:03</c:v>
                </c:pt>
                <c:pt idx="1445">
                  <c:v>12/10/2014 0:04</c:v>
                </c:pt>
                <c:pt idx="1446">
                  <c:v>12/10/2014 0:05</c:v>
                </c:pt>
                <c:pt idx="1447">
                  <c:v>12/10/2014 0:06</c:v>
                </c:pt>
                <c:pt idx="1448">
                  <c:v>12/10/2014 0:07</c:v>
                </c:pt>
                <c:pt idx="1449">
                  <c:v>12/10/2014 0:08</c:v>
                </c:pt>
                <c:pt idx="1450">
                  <c:v>12/10/2014 0:09</c:v>
                </c:pt>
                <c:pt idx="1451">
                  <c:v>12/10/2014 0:10</c:v>
                </c:pt>
                <c:pt idx="1452">
                  <c:v>12/10/2014 0:11</c:v>
                </c:pt>
                <c:pt idx="1453">
                  <c:v>12/10/2014 0:12</c:v>
                </c:pt>
                <c:pt idx="1454">
                  <c:v>12/10/2014 0:13</c:v>
                </c:pt>
                <c:pt idx="1455">
                  <c:v>12/10/2014 0:14</c:v>
                </c:pt>
                <c:pt idx="1456">
                  <c:v>12/10/2014 0:15</c:v>
                </c:pt>
                <c:pt idx="1457">
                  <c:v>12/10/2014 0:16</c:v>
                </c:pt>
                <c:pt idx="1458">
                  <c:v>12/10/2014 0:17</c:v>
                </c:pt>
                <c:pt idx="1459">
                  <c:v>12/10/2014 0:18</c:v>
                </c:pt>
                <c:pt idx="1460">
                  <c:v>12/10/2014 0:19</c:v>
                </c:pt>
                <c:pt idx="1461">
                  <c:v>12/10/2014 0:20</c:v>
                </c:pt>
                <c:pt idx="1462">
                  <c:v>12/10/2014 0:21</c:v>
                </c:pt>
                <c:pt idx="1463">
                  <c:v>12/10/2014 0:22</c:v>
                </c:pt>
                <c:pt idx="1464">
                  <c:v>12/10/2014 0:23</c:v>
                </c:pt>
                <c:pt idx="1465">
                  <c:v>12/10/2014 0:24</c:v>
                </c:pt>
                <c:pt idx="1466">
                  <c:v>12/10/2014 0:25</c:v>
                </c:pt>
                <c:pt idx="1467">
                  <c:v>12/10/2014 0:26</c:v>
                </c:pt>
                <c:pt idx="1468">
                  <c:v>12/10/2014 0:27</c:v>
                </c:pt>
                <c:pt idx="1469">
                  <c:v>12/10/2014 0:28</c:v>
                </c:pt>
                <c:pt idx="1470">
                  <c:v>12/10/2014 0:29</c:v>
                </c:pt>
                <c:pt idx="1471">
                  <c:v>12/10/2014 0:30</c:v>
                </c:pt>
                <c:pt idx="1472">
                  <c:v>12/10/2014 0:31</c:v>
                </c:pt>
                <c:pt idx="1473">
                  <c:v>12/10/2014 0:32</c:v>
                </c:pt>
                <c:pt idx="1474">
                  <c:v>12/10/2014 0:33</c:v>
                </c:pt>
                <c:pt idx="1475">
                  <c:v>12/10/2014 0:34</c:v>
                </c:pt>
                <c:pt idx="1476">
                  <c:v>12/10/2014 0:35</c:v>
                </c:pt>
                <c:pt idx="1477">
                  <c:v>12/10/2014 0:36</c:v>
                </c:pt>
                <c:pt idx="1478">
                  <c:v>12/10/2014 0:37</c:v>
                </c:pt>
                <c:pt idx="1479">
                  <c:v>12/10/2014 0:38</c:v>
                </c:pt>
                <c:pt idx="1480">
                  <c:v>12/10/2014 0:39</c:v>
                </c:pt>
                <c:pt idx="1481">
                  <c:v>12/10/2014 0:40</c:v>
                </c:pt>
                <c:pt idx="1482">
                  <c:v>12/10/2014 0:41</c:v>
                </c:pt>
                <c:pt idx="1483">
                  <c:v>12/10/2014 0:42</c:v>
                </c:pt>
                <c:pt idx="1484">
                  <c:v>12/10/2014 0:43</c:v>
                </c:pt>
                <c:pt idx="1485">
                  <c:v>12/10/2014 0:44</c:v>
                </c:pt>
                <c:pt idx="1486">
                  <c:v>12/10/2014 0:45</c:v>
                </c:pt>
                <c:pt idx="1487">
                  <c:v>12/10/2014 0:46</c:v>
                </c:pt>
                <c:pt idx="1488">
                  <c:v>12/10/2014 0:47</c:v>
                </c:pt>
                <c:pt idx="1489">
                  <c:v>12/10/2014 0:48</c:v>
                </c:pt>
                <c:pt idx="1490">
                  <c:v>12/10/2014 0:49</c:v>
                </c:pt>
                <c:pt idx="1491">
                  <c:v>12/10/2014 0:50</c:v>
                </c:pt>
                <c:pt idx="1492">
                  <c:v>12/10/2014 0:51</c:v>
                </c:pt>
                <c:pt idx="1493">
                  <c:v>12/10/2014 0:52</c:v>
                </c:pt>
                <c:pt idx="1494">
                  <c:v>12/10/2014 0:53</c:v>
                </c:pt>
                <c:pt idx="1495">
                  <c:v>12/10/2014 0:54</c:v>
                </c:pt>
                <c:pt idx="1496">
                  <c:v>12/10/2014 0:55</c:v>
                </c:pt>
                <c:pt idx="1497">
                  <c:v>12/10/2014 0:56</c:v>
                </c:pt>
                <c:pt idx="1498">
                  <c:v>12/10/2014 0:57</c:v>
                </c:pt>
                <c:pt idx="1499">
                  <c:v>12/10/2014 0:58</c:v>
                </c:pt>
                <c:pt idx="1500">
                  <c:v>12/10/2014 0:59</c:v>
                </c:pt>
                <c:pt idx="1501">
                  <c:v>12/10/2014 1:00</c:v>
                </c:pt>
                <c:pt idx="1502">
                  <c:v>12/10/2014 1:01</c:v>
                </c:pt>
                <c:pt idx="1503">
                  <c:v>12/10/2014 1:02</c:v>
                </c:pt>
                <c:pt idx="1504">
                  <c:v>12/10/2014 1:03</c:v>
                </c:pt>
                <c:pt idx="1505">
                  <c:v>12/10/2014 1:04</c:v>
                </c:pt>
                <c:pt idx="1506">
                  <c:v>12/10/2014 1:05</c:v>
                </c:pt>
                <c:pt idx="1507">
                  <c:v>12/10/2014 1:06</c:v>
                </c:pt>
                <c:pt idx="1508">
                  <c:v>12/10/2014 1:07</c:v>
                </c:pt>
                <c:pt idx="1509">
                  <c:v>12/10/2014 1:08</c:v>
                </c:pt>
                <c:pt idx="1510">
                  <c:v>12/10/2014 1:09</c:v>
                </c:pt>
                <c:pt idx="1511">
                  <c:v>12/10/2014 1:10</c:v>
                </c:pt>
                <c:pt idx="1512">
                  <c:v>12/10/2014 1:11</c:v>
                </c:pt>
                <c:pt idx="1513">
                  <c:v>12/10/2014 1:12</c:v>
                </c:pt>
                <c:pt idx="1514">
                  <c:v>12/10/2014 1:13</c:v>
                </c:pt>
                <c:pt idx="1515">
                  <c:v>12/10/2014 1:14</c:v>
                </c:pt>
                <c:pt idx="1516">
                  <c:v>12/10/2014 1:15</c:v>
                </c:pt>
                <c:pt idx="1517">
                  <c:v>12/10/2014 1:16</c:v>
                </c:pt>
                <c:pt idx="1518">
                  <c:v>12/10/2014 1:17</c:v>
                </c:pt>
                <c:pt idx="1519">
                  <c:v>12/10/2014 1:18</c:v>
                </c:pt>
                <c:pt idx="1520">
                  <c:v>12/10/2014 1:19</c:v>
                </c:pt>
                <c:pt idx="1521">
                  <c:v>12/10/2014 1:20</c:v>
                </c:pt>
                <c:pt idx="1522">
                  <c:v>12/10/2014 1:21</c:v>
                </c:pt>
                <c:pt idx="1523">
                  <c:v>12/10/2014 1:22</c:v>
                </c:pt>
                <c:pt idx="1524">
                  <c:v>12/10/2014 1:23</c:v>
                </c:pt>
                <c:pt idx="1525">
                  <c:v>12/10/2014 1:24</c:v>
                </c:pt>
                <c:pt idx="1526">
                  <c:v>12/10/2014 1:25</c:v>
                </c:pt>
                <c:pt idx="1527">
                  <c:v>12/10/2014 1:26</c:v>
                </c:pt>
                <c:pt idx="1528">
                  <c:v>12/10/2014 1:27</c:v>
                </c:pt>
                <c:pt idx="1529">
                  <c:v>12/10/2014 1:28</c:v>
                </c:pt>
                <c:pt idx="1530">
                  <c:v>12/10/2014 1:29</c:v>
                </c:pt>
                <c:pt idx="1531">
                  <c:v>12/10/2014 1:30</c:v>
                </c:pt>
                <c:pt idx="1532">
                  <c:v>12/10/2014 1:31</c:v>
                </c:pt>
                <c:pt idx="1533">
                  <c:v>12/10/2014 1:32</c:v>
                </c:pt>
                <c:pt idx="1534">
                  <c:v>12/10/2014 1:33</c:v>
                </c:pt>
                <c:pt idx="1535">
                  <c:v>12/10/2014 1:34</c:v>
                </c:pt>
                <c:pt idx="1536">
                  <c:v>12/10/2014 1:35</c:v>
                </c:pt>
                <c:pt idx="1537">
                  <c:v>12/10/2014 1:36</c:v>
                </c:pt>
                <c:pt idx="1538">
                  <c:v>12/10/2014 1:37</c:v>
                </c:pt>
                <c:pt idx="1539">
                  <c:v>12/10/2014 1:38</c:v>
                </c:pt>
                <c:pt idx="1540">
                  <c:v>12/10/2014 1:39</c:v>
                </c:pt>
                <c:pt idx="1541">
                  <c:v>12/10/2014 1:40</c:v>
                </c:pt>
                <c:pt idx="1542">
                  <c:v>12/10/2014 1:41</c:v>
                </c:pt>
                <c:pt idx="1543">
                  <c:v>12/10/2014 1:42</c:v>
                </c:pt>
                <c:pt idx="1544">
                  <c:v>12/10/2014 1:43</c:v>
                </c:pt>
                <c:pt idx="1545">
                  <c:v>12/10/2014 1:44</c:v>
                </c:pt>
                <c:pt idx="1546">
                  <c:v>12/10/2014 1:45</c:v>
                </c:pt>
                <c:pt idx="1547">
                  <c:v>12/10/2014 1:46</c:v>
                </c:pt>
                <c:pt idx="1548">
                  <c:v>12/10/2014 1:47</c:v>
                </c:pt>
                <c:pt idx="1549">
                  <c:v>12/10/2014 1:48</c:v>
                </c:pt>
                <c:pt idx="1550">
                  <c:v>12/10/2014 1:49</c:v>
                </c:pt>
                <c:pt idx="1551">
                  <c:v>12/10/2014 1:50</c:v>
                </c:pt>
                <c:pt idx="1552">
                  <c:v>12/10/2014 1:51</c:v>
                </c:pt>
                <c:pt idx="1553">
                  <c:v>12/10/2014 1:52</c:v>
                </c:pt>
                <c:pt idx="1554">
                  <c:v>12/10/2014 1:53</c:v>
                </c:pt>
                <c:pt idx="1555">
                  <c:v>12/10/2014 1:54</c:v>
                </c:pt>
                <c:pt idx="1556">
                  <c:v>12/10/2014 1:55</c:v>
                </c:pt>
                <c:pt idx="1557">
                  <c:v>12/10/2014 1:56</c:v>
                </c:pt>
                <c:pt idx="1558">
                  <c:v>12/10/2014 1:57</c:v>
                </c:pt>
                <c:pt idx="1559">
                  <c:v>12/10/2014 1:58</c:v>
                </c:pt>
                <c:pt idx="1560">
                  <c:v>12/10/2014 1:59</c:v>
                </c:pt>
                <c:pt idx="1561">
                  <c:v>12/10/2014 2:00</c:v>
                </c:pt>
                <c:pt idx="1562">
                  <c:v>12/10/2014 2:01</c:v>
                </c:pt>
                <c:pt idx="1563">
                  <c:v>12/10/2014 2:02</c:v>
                </c:pt>
                <c:pt idx="1564">
                  <c:v>12/10/2014 2:03</c:v>
                </c:pt>
                <c:pt idx="1565">
                  <c:v>12/10/2014 2:04</c:v>
                </c:pt>
                <c:pt idx="1566">
                  <c:v>12/10/2014 2:05</c:v>
                </c:pt>
                <c:pt idx="1567">
                  <c:v>12/10/2014 2:06</c:v>
                </c:pt>
                <c:pt idx="1568">
                  <c:v>12/10/2014 2:07</c:v>
                </c:pt>
                <c:pt idx="1569">
                  <c:v>12/10/2014 2:08</c:v>
                </c:pt>
                <c:pt idx="1570">
                  <c:v>12/10/2014 2:09</c:v>
                </c:pt>
                <c:pt idx="1571">
                  <c:v>12/10/2014 2:10</c:v>
                </c:pt>
                <c:pt idx="1572">
                  <c:v>12/10/2014 2:11</c:v>
                </c:pt>
                <c:pt idx="1573">
                  <c:v>12/10/2014 2:12</c:v>
                </c:pt>
                <c:pt idx="1574">
                  <c:v>12/10/2014 2:13</c:v>
                </c:pt>
                <c:pt idx="1575">
                  <c:v>12/10/2014 2:14</c:v>
                </c:pt>
                <c:pt idx="1576">
                  <c:v>12/10/2014 2:15</c:v>
                </c:pt>
                <c:pt idx="1577">
                  <c:v>12/10/2014 2:16</c:v>
                </c:pt>
                <c:pt idx="1578">
                  <c:v>12/10/2014 2:17</c:v>
                </c:pt>
                <c:pt idx="1579">
                  <c:v>12/10/2014 2:18</c:v>
                </c:pt>
                <c:pt idx="1580">
                  <c:v>12/10/2014 2:19</c:v>
                </c:pt>
                <c:pt idx="1581">
                  <c:v>12/10/2014 2:20</c:v>
                </c:pt>
                <c:pt idx="1582">
                  <c:v>12/10/2014 2:21</c:v>
                </c:pt>
                <c:pt idx="1583">
                  <c:v>12/10/2014 2:22</c:v>
                </c:pt>
                <c:pt idx="1584">
                  <c:v>12/10/2014 2:23</c:v>
                </c:pt>
                <c:pt idx="1585">
                  <c:v>12/10/2014 2:24</c:v>
                </c:pt>
                <c:pt idx="1586">
                  <c:v>12/10/2014 2:25</c:v>
                </c:pt>
                <c:pt idx="1587">
                  <c:v>12/10/2014 2:26</c:v>
                </c:pt>
                <c:pt idx="1588">
                  <c:v>12/10/2014 2:27</c:v>
                </c:pt>
                <c:pt idx="1589">
                  <c:v>12/10/2014 2:28</c:v>
                </c:pt>
                <c:pt idx="1590">
                  <c:v>12/10/2014 2:29</c:v>
                </c:pt>
                <c:pt idx="1591">
                  <c:v>12/10/2014 2:30</c:v>
                </c:pt>
                <c:pt idx="1592">
                  <c:v>12/10/2014 2:31</c:v>
                </c:pt>
                <c:pt idx="1593">
                  <c:v>12/10/2014 2:32</c:v>
                </c:pt>
                <c:pt idx="1594">
                  <c:v>12/10/2014 2:33</c:v>
                </c:pt>
                <c:pt idx="1595">
                  <c:v>12/10/2014 2:34</c:v>
                </c:pt>
                <c:pt idx="1596">
                  <c:v>12/10/2014 2:35</c:v>
                </c:pt>
                <c:pt idx="1597">
                  <c:v>12/10/2014 2:36</c:v>
                </c:pt>
                <c:pt idx="1598">
                  <c:v>12/10/2014 2:37</c:v>
                </c:pt>
                <c:pt idx="1599">
                  <c:v>12/10/2014 2:38</c:v>
                </c:pt>
                <c:pt idx="1600">
                  <c:v>12/10/2014 2:39</c:v>
                </c:pt>
                <c:pt idx="1601">
                  <c:v>12/10/2014 2:40</c:v>
                </c:pt>
                <c:pt idx="1602">
                  <c:v>12/10/2014 2:41</c:v>
                </c:pt>
                <c:pt idx="1603">
                  <c:v>12/10/2014 2:42</c:v>
                </c:pt>
                <c:pt idx="1604">
                  <c:v>12/10/2014 2:43</c:v>
                </c:pt>
                <c:pt idx="1605">
                  <c:v>12/10/2014 2:44</c:v>
                </c:pt>
                <c:pt idx="1606">
                  <c:v>12/10/2014 2:45</c:v>
                </c:pt>
                <c:pt idx="1607">
                  <c:v>12/10/2014 2:46</c:v>
                </c:pt>
                <c:pt idx="1608">
                  <c:v>12/10/2014 2:47</c:v>
                </c:pt>
                <c:pt idx="1609">
                  <c:v>12/10/2014 2:48</c:v>
                </c:pt>
                <c:pt idx="1610">
                  <c:v>12/10/2014 2:49</c:v>
                </c:pt>
                <c:pt idx="1611">
                  <c:v>12/10/2014 2:50</c:v>
                </c:pt>
                <c:pt idx="1612">
                  <c:v>12/10/2014 2:51</c:v>
                </c:pt>
                <c:pt idx="1613">
                  <c:v>12/10/2014 2:52</c:v>
                </c:pt>
                <c:pt idx="1614">
                  <c:v>12/10/2014 2:53</c:v>
                </c:pt>
                <c:pt idx="1615">
                  <c:v>12/10/2014 2:54</c:v>
                </c:pt>
                <c:pt idx="1616">
                  <c:v>12/10/2014 2:55</c:v>
                </c:pt>
                <c:pt idx="1617">
                  <c:v>12/10/2014 2:56</c:v>
                </c:pt>
                <c:pt idx="1618">
                  <c:v>12/10/2014 2:57</c:v>
                </c:pt>
                <c:pt idx="1619">
                  <c:v>12/10/2014 2:58</c:v>
                </c:pt>
                <c:pt idx="1620">
                  <c:v>12/10/2014 2:59</c:v>
                </c:pt>
                <c:pt idx="1621">
                  <c:v>12/10/2014 3:00</c:v>
                </c:pt>
                <c:pt idx="1622">
                  <c:v>12/10/2014 3:01</c:v>
                </c:pt>
                <c:pt idx="1623">
                  <c:v>12/10/2014 3:02</c:v>
                </c:pt>
                <c:pt idx="1624">
                  <c:v>12/10/2014 3:03</c:v>
                </c:pt>
                <c:pt idx="1625">
                  <c:v>12/10/2014 3:04</c:v>
                </c:pt>
                <c:pt idx="1626">
                  <c:v>12/10/2014 3:05</c:v>
                </c:pt>
                <c:pt idx="1627">
                  <c:v>12/10/2014 3:06</c:v>
                </c:pt>
                <c:pt idx="1628">
                  <c:v>12/10/2014 3:07</c:v>
                </c:pt>
                <c:pt idx="1629">
                  <c:v>12/10/2014 3:08</c:v>
                </c:pt>
                <c:pt idx="1630">
                  <c:v>12/10/2014 3:09</c:v>
                </c:pt>
                <c:pt idx="1631">
                  <c:v>12/10/2014 3:10</c:v>
                </c:pt>
                <c:pt idx="1632">
                  <c:v>12/10/2014 3:11</c:v>
                </c:pt>
                <c:pt idx="1633">
                  <c:v>12/10/2014 3:12</c:v>
                </c:pt>
                <c:pt idx="1634">
                  <c:v>12/10/2014 3:13</c:v>
                </c:pt>
                <c:pt idx="1635">
                  <c:v>12/10/2014 3:14</c:v>
                </c:pt>
                <c:pt idx="1636">
                  <c:v>12/10/2014 3:15</c:v>
                </c:pt>
                <c:pt idx="1637">
                  <c:v>12/10/2014 3:16</c:v>
                </c:pt>
                <c:pt idx="1638">
                  <c:v>12/10/2014 3:17</c:v>
                </c:pt>
                <c:pt idx="1639">
                  <c:v>12/10/2014 3:18</c:v>
                </c:pt>
                <c:pt idx="1640">
                  <c:v>12/10/2014 3:19</c:v>
                </c:pt>
                <c:pt idx="1641">
                  <c:v>12/10/2014 3:20</c:v>
                </c:pt>
                <c:pt idx="1642">
                  <c:v>12/10/2014 3:21</c:v>
                </c:pt>
                <c:pt idx="1643">
                  <c:v>12/10/2014 3:22</c:v>
                </c:pt>
                <c:pt idx="1644">
                  <c:v>12/10/2014 3:23</c:v>
                </c:pt>
                <c:pt idx="1645">
                  <c:v>12/10/2014 3:24</c:v>
                </c:pt>
                <c:pt idx="1646">
                  <c:v>12/10/2014 3:25</c:v>
                </c:pt>
                <c:pt idx="1647">
                  <c:v>12/10/2014 3:26</c:v>
                </c:pt>
                <c:pt idx="1648">
                  <c:v>12/10/2014 3:27</c:v>
                </c:pt>
                <c:pt idx="1649">
                  <c:v>12/10/2014 3:28</c:v>
                </c:pt>
                <c:pt idx="1650">
                  <c:v>12/10/2014 3:29</c:v>
                </c:pt>
                <c:pt idx="1651">
                  <c:v>12/10/2014 3:30</c:v>
                </c:pt>
                <c:pt idx="1652">
                  <c:v>12/10/2014 3:31</c:v>
                </c:pt>
                <c:pt idx="1653">
                  <c:v>12/10/2014 3:32</c:v>
                </c:pt>
                <c:pt idx="1654">
                  <c:v>12/10/2014 3:33</c:v>
                </c:pt>
                <c:pt idx="1655">
                  <c:v>12/10/2014 3:34</c:v>
                </c:pt>
                <c:pt idx="1656">
                  <c:v>12/10/2014 3:35</c:v>
                </c:pt>
                <c:pt idx="1657">
                  <c:v>12/10/2014 3:36</c:v>
                </c:pt>
                <c:pt idx="1658">
                  <c:v>12/10/2014 3:37</c:v>
                </c:pt>
                <c:pt idx="1659">
                  <c:v>12/10/2014 3:38</c:v>
                </c:pt>
                <c:pt idx="1660">
                  <c:v>12/10/2014 3:39</c:v>
                </c:pt>
                <c:pt idx="1661">
                  <c:v>12/10/2014 3:40</c:v>
                </c:pt>
                <c:pt idx="1662">
                  <c:v>12/10/2014 3:41</c:v>
                </c:pt>
                <c:pt idx="1663">
                  <c:v>12/10/2014 3:42</c:v>
                </c:pt>
                <c:pt idx="1664">
                  <c:v>12/10/2014 3:43</c:v>
                </c:pt>
                <c:pt idx="1665">
                  <c:v>12/10/2014 3:44</c:v>
                </c:pt>
                <c:pt idx="1666">
                  <c:v>12/10/2014 3:45</c:v>
                </c:pt>
                <c:pt idx="1667">
                  <c:v>12/10/2014 3:46</c:v>
                </c:pt>
                <c:pt idx="1668">
                  <c:v>12/10/2014 3:47</c:v>
                </c:pt>
                <c:pt idx="1669">
                  <c:v>12/10/2014 3:48</c:v>
                </c:pt>
                <c:pt idx="1670">
                  <c:v>12/10/2014 3:49</c:v>
                </c:pt>
                <c:pt idx="1671">
                  <c:v>12/10/2014 3:50</c:v>
                </c:pt>
                <c:pt idx="1672">
                  <c:v>12/10/2014 3:51</c:v>
                </c:pt>
                <c:pt idx="1673">
                  <c:v>12/10/2014 3:52</c:v>
                </c:pt>
                <c:pt idx="1674">
                  <c:v>12/10/2014 3:53</c:v>
                </c:pt>
                <c:pt idx="1675">
                  <c:v>12/10/2014 3:54</c:v>
                </c:pt>
                <c:pt idx="1676">
                  <c:v>12/10/2014 3:55</c:v>
                </c:pt>
                <c:pt idx="1677">
                  <c:v>12/10/2014 3:56</c:v>
                </c:pt>
                <c:pt idx="1678">
                  <c:v>12/10/2014 3:57</c:v>
                </c:pt>
                <c:pt idx="1679">
                  <c:v>12/10/2014 3:58</c:v>
                </c:pt>
                <c:pt idx="1680">
                  <c:v>12/10/2014 3:59</c:v>
                </c:pt>
                <c:pt idx="1681">
                  <c:v>12/10/2014 4:00</c:v>
                </c:pt>
                <c:pt idx="1682">
                  <c:v>12/10/2014 4:01</c:v>
                </c:pt>
                <c:pt idx="1683">
                  <c:v>12/10/2014 4:02</c:v>
                </c:pt>
                <c:pt idx="1684">
                  <c:v>12/10/2014 4:03</c:v>
                </c:pt>
                <c:pt idx="1685">
                  <c:v>12/10/2014 4:04</c:v>
                </c:pt>
                <c:pt idx="1686">
                  <c:v>12/10/2014 4:05</c:v>
                </c:pt>
                <c:pt idx="1687">
                  <c:v>12/10/2014 4:06</c:v>
                </c:pt>
                <c:pt idx="1688">
                  <c:v>12/10/2014 4:07</c:v>
                </c:pt>
                <c:pt idx="1689">
                  <c:v>12/10/2014 4:08</c:v>
                </c:pt>
                <c:pt idx="1690">
                  <c:v>12/10/2014 4:09</c:v>
                </c:pt>
                <c:pt idx="1691">
                  <c:v>12/10/2014 4:10</c:v>
                </c:pt>
                <c:pt idx="1692">
                  <c:v>12/10/2014 4:11</c:v>
                </c:pt>
                <c:pt idx="1693">
                  <c:v>12/10/2014 4:12</c:v>
                </c:pt>
                <c:pt idx="1694">
                  <c:v>12/10/2014 4:13</c:v>
                </c:pt>
                <c:pt idx="1695">
                  <c:v>12/10/2014 4:14</c:v>
                </c:pt>
                <c:pt idx="1696">
                  <c:v>12/10/2014 4:15</c:v>
                </c:pt>
                <c:pt idx="1697">
                  <c:v>12/10/2014 4:16</c:v>
                </c:pt>
                <c:pt idx="1698">
                  <c:v>12/10/2014 4:17</c:v>
                </c:pt>
                <c:pt idx="1699">
                  <c:v>12/10/2014 4:18</c:v>
                </c:pt>
                <c:pt idx="1700">
                  <c:v>12/10/2014 4:19</c:v>
                </c:pt>
                <c:pt idx="1701">
                  <c:v>12/10/2014 4:20</c:v>
                </c:pt>
                <c:pt idx="1702">
                  <c:v>12/10/2014 4:21</c:v>
                </c:pt>
                <c:pt idx="1703">
                  <c:v>12/10/2014 4:22</c:v>
                </c:pt>
                <c:pt idx="1704">
                  <c:v>12/10/2014 4:23</c:v>
                </c:pt>
                <c:pt idx="1705">
                  <c:v>12/10/2014 4:24</c:v>
                </c:pt>
                <c:pt idx="1706">
                  <c:v>12/10/2014 4:25</c:v>
                </c:pt>
                <c:pt idx="1707">
                  <c:v>12/10/2014 4:26</c:v>
                </c:pt>
                <c:pt idx="1708">
                  <c:v>12/10/2014 4:27</c:v>
                </c:pt>
                <c:pt idx="1709">
                  <c:v>12/10/2014 4:28</c:v>
                </c:pt>
                <c:pt idx="1710">
                  <c:v>12/10/2014 4:29</c:v>
                </c:pt>
                <c:pt idx="1711">
                  <c:v>12/10/2014 4:30</c:v>
                </c:pt>
                <c:pt idx="1712">
                  <c:v>12/10/2014 4:31</c:v>
                </c:pt>
                <c:pt idx="1713">
                  <c:v>12/10/2014 4:32</c:v>
                </c:pt>
                <c:pt idx="1714">
                  <c:v>12/10/2014 4:33</c:v>
                </c:pt>
                <c:pt idx="1715">
                  <c:v>12/10/2014 4:34</c:v>
                </c:pt>
                <c:pt idx="1716">
                  <c:v>12/10/2014 4:35</c:v>
                </c:pt>
                <c:pt idx="1717">
                  <c:v>12/10/2014 4:36</c:v>
                </c:pt>
                <c:pt idx="1718">
                  <c:v>12/10/2014 4:37</c:v>
                </c:pt>
                <c:pt idx="1719">
                  <c:v>12/10/2014 4:38</c:v>
                </c:pt>
                <c:pt idx="1720">
                  <c:v>12/10/2014 4:39</c:v>
                </c:pt>
                <c:pt idx="1721">
                  <c:v>12/10/2014 4:40</c:v>
                </c:pt>
                <c:pt idx="1722">
                  <c:v>12/10/2014 4:41</c:v>
                </c:pt>
                <c:pt idx="1723">
                  <c:v>12/10/2014 4:42</c:v>
                </c:pt>
                <c:pt idx="1724">
                  <c:v>12/10/2014 4:43</c:v>
                </c:pt>
                <c:pt idx="1725">
                  <c:v>12/10/2014 4:44</c:v>
                </c:pt>
                <c:pt idx="1726">
                  <c:v>12/10/2014 4:45</c:v>
                </c:pt>
                <c:pt idx="1727">
                  <c:v>12/10/2014 4:46</c:v>
                </c:pt>
                <c:pt idx="1728">
                  <c:v>12/10/2014 4:47</c:v>
                </c:pt>
                <c:pt idx="1729">
                  <c:v>12/10/2014 4:48</c:v>
                </c:pt>
                <c:pt idx="1730">
                  <c:v>12/10/2014 4:49</c:v>
                </c:pt>
                <c:pt idx="1731">
                  <c:v>12/10/2014 4:50</c:v>
                </c:pt>
                <c:pt idx="1732">
                  <c:v>12/10/2014 4:51</c:v>
                </c:pt>
                <c:pt idx="1733">
                  <c:v>12/10/2014 4:52</c:v>
                </c:pt>
                <c:pt idx="1734">
                  <c:v>12/10/2014 4:53</c:v>
                </c:pt>
                <c:pt idx="1735">
                  <c:v>12/10/2014 4:54</c:v>
                </c:pt>
                <c:pt idx="1736">
                  <c:v>12/10/2014 4:55</c:v>
                </c:pt>
                <c:pt idx="1737">
                  <c:v>12/10/2014 4:56</c:v>
                </c:pt>
                <c:pt idx="1738">
                  <c:v>12/10/2014 4:57</c:v>
                </c:pt>
                <c:pt idx="1739">
                  <c:v>12/10/2014 4:58</c:v>
                </c:pt>
                <c:pt idx="1740">
                  <c:v>12/10/2014 4:59</c:v>
                </c:pt>
                <c:pt idx="1741">
                  <c:v>12/10/2014 5:00</c:v>
                </c:pt>
                <c:pt idx="1742">
                  <c:v>12/10/2014 5:01</c:v>
                </c:pt>
                <c:pt idx="1743">
                  <c:v>12/10/2014 5:02</c:v>
                </c:pt>
                <c:pt idx="1744">
                  <c:v>12/10/2014 5:03</c:v>
                </c:pt>
                <c:pt idx="1745">
                  <c:v>12/10/2014 5:04</c:v>
                </c:pt>
                <c:pt idx="1746">
                  <c:v>12/10/2014 5:05</c:v>
                </c:pt>
                <c:pt idx="1747">
                  <c:v>12/10/2014 5:06</c:v>
                </c:pt>
                <c:pt idx="1748">
                  <c:v>12/10/2014 5:07</c:v>
                </c:pt>
                <c:pt idx="1749">
                  <c:v>12/10/2014 5:08</c:v>
                </c:pt>
                <c:pt idx="1750">
                  <c:v>12/10/2014 5:09</c:v>
                </c:pt>
                <c:pt idx="1751">
                  <c:v>12/10/2014 5:10</c:v>
                </c:pt>
                <c:pt idx="1752">
                  <c:v>12/10/2014 5:11</c:v>
                </c:pt>
                <c:pt idx="1753">
                  <c:v>12/10/2014 5:12</c:v>
                </c:pt>
                <c:pt idx="1754">
                  <c:v>12/10/2014 5:13</c:v>
                </c:pt>
                <c:pt idx="1755">
                  <c:v>12/10/2014 5:14</c:v>
                </c:pt>
                <c:pt idx="1756">
                  <c:v>12/10/2014 5:15</c:v>
                </c:pt>
                <c:pt idx="1757">
                  <c:v>12/10/2014 5:16</c:v>
                </c:pt>
                <c:pt idx="1758">
                  <c:v>12/10/2014 5:17</c:v>
                </c:pt>
                <c:pt idx="1759">
                  <c:v>12/10/2014 5:18</c:v>
                </c:pt>
                <c:pt idx="1760">
                  <c:v>12/10/2014 5:19</c:v>
                </c:pt>
                <c:pt idx="1761">
                  <c:v>12/10/2014 5:20</c:v>
                </c:pt>
                <c:pt idx="1762">
                  <c:v>12/10/2014 5:21</c:v>
                </c:pt>
                <c:pt idx="1763">
                  <c:v>12/10/2014 5:22</c:v>
                </c:pt>
                <c:pt idx="1764">
                  <c:v>12/10/2014 5:23</c:v>
                </c:pt>
                <c:pt idx="1765">
                  <c:v>12/10/2014 5:24</c:v>
                </c:pt>
                <c:pt idx="1766">
                  <c:v>12/10/2014 5:25</c:v>
                </c:pt>
                <c:pt idx="1767">
                  <c:v>12/10/2014 5:26</c:v>
                </c:pt>
                <c:pt idx="1768">
                  <c:v>12/10/2014 5:27</c:v>
                </c:pt>
                <c:pt idx="1769">
                  <c:v>12/10/2014 5:28</c:v>
                </c:pt>
                <c:pt idx="1770">
                  <c:v>12/10/2014 5:29</c:v>
                </c:pt>
                <c:pt idx="1771">
                  <c:v>12/10/2014 5:30</c:v>
                </c:pt>
                <c:pt idx="1772">
                  <c:v>12/10/2014 5:31</c:v>
                </c:pt>
                <c:pt idx="1773">
                  <c:v>12/10/2014 5:32</c:v>
                </c:pt>
                <c:pt idx="1774">
                  <c:v>12/10/2014 5:33</c:v>
                </c:pt>
                <c:pt idx="1775">
                  <c:v>12/10/2014 5:34</c:v>
                </c:pt>
                <c:pt idx="1776">
                  <c:v>12/10/2014 5:35</c:v>
                </c:pt>
                <c:pt idx="1777">
                  <c:v>12/10/2014 5:36</c:v>
                </c:pt>
                <c:pt idx="1778">
                  <c:v>12/10/2014 5:37</c:v>
                </c:pt>
                <c:pt idx="1779">
                  <c:v>12/10/2014 5:38</c:v>
                </c:pt>
                <c:pt idx="1780">
                  <c:v>12/10/2014 5:39</c:v>
                </c:pt>
                <c:pt idx="1781">
                  <c:v>12/10/2014 5:40</c:v>
                </c:pt>
                <c:pt idx="1782">
                  <c:v>12/10/2014 5:41</c:v>
                </c:pt>
                <c:pt idx="1783">
                  <c:v>12/10/2014 5:42</c:v>
                </c:pt>
                <c:pt idx="1784">
                  <c:v>12/10/2014 5:43</c:v>
                </c:pt>
                <c:pt idx="1785">
                  <c:v>12/10/2014 5:44</c:v>
                </c:pt>
                <c:pt idx="1786">
                  <c:v>12/10/2014 5:45</c:v>
                </c:pt>
                <c:pt idx="1787">
                  <c:v>12/10/2014 5:46</c:v>
                </c:pt>
                <c:pt idx="1788">
                  <c:v>12/10/2014 5:47</c:v>
                </c:pt>
                <c:pt idx="1789">
                  <c:v>12/10/2014 5:48</c:v>
                </c:pt>
                <c:pt idx="1790">
                  <c:v>12/10/2014 5:49</c:v>
                </c:pt>
                <c:pt idx="1791">
                  <c:v>12/10/2014 5:50</c:v>
                </c:pt>
                <c:pt idx="1792">
                  <c:v>12/10/2014 5:51</c:v>
                </c:pt>
                <c:pt idx="1793">
                  <c:v>12/10/2014 5:52</c:v>
                </c:pt>
                <c:pt idx="1794">
                  <c:v>12/10/2014 5:53</c:v>
                </c:pt>
                <c:pt idx="1795">
                  <c:v>12/10/2014 5:54</c:v>
                </c:pt>
                <c:pt idx="1796">
                  <c:v>12/10/2014 5:55</c:v>
                </c:pt>
                <c:pt idx="1797">
                  <c:v>12/10/2014 5:56</c:v>
                </c:pt>
                <c:pt idx="1798">
                  <c:v>12/10/2014 5:57</c:v>
                </c:pt>
                <c:pt idx="1799">
                  <c:v>12/10/2014 5:58</c:v>
                </c:pt>
                <c:pt idx="1800">
                  <c:v>12/10/2014 5:59</c:v>
                </c:pt>
                <c:pt idx="1801">
                  <c:v>12/10/2014 6:00</c:v>
                </c:pt>
                <c:pt idx="1802">
                  <c:v>12/10/2014 6:01</c:v>
                </c:pt>
                <c:pt idx="1803">
                  <c:v>12/10/2014 6:02</c:v>
                </c:pt>
                <c:pt idx="1804">
                  <c:v>12/10/2014 6:03</c:v>
                </c:pt>
                <c:pt idx="1805">
                  <c:v>12/10/2014 6:04</c:v>
                </c:pt>
                <c:pt idx="1806">
                  <c:v>12/10/2014 6:05</c:v>
                </c:pt>
                <c:pt idx="1807">
                  <c:v>12/10/2014 6:06</c:v>
                </c:pt>
                <c:pt idx="1808">
                  <c:v>12/10/2014 6:07</c:v>
                </c:pt>
                <c:pt idx="1809">
                  <c:v>12/10/2014 6:08</c:v>
                </c:pt>
                <c:pt idx="1810">
                  <c:v>12/10/2014 6:09</c:v>
                </c:pt>
                <c:pt idx="1811">
                  <c:v>12/10/2014 6:10</c:v>
                </c:pt>
                <c:pt idx="1812">
                  <c:v>12/10/2014 6:11</c:v>
                </c:pt>
                <c:pt idx="1813">
                  <c:v>12/10/2014 6:12</c:v>
                </c:pt>
                <c:pt idx="1814">
                  <c:v>12/10/2014 6:13</c:v>
                </c:pt>
                <c:pt idx="1815">
                  <c:v>12/10/2014 6:14</c:v>
                </c:pt>
                <c:pt idx="1816">
                  <c:v>12/10/2014 6:15</c:v>
                </c:pt>
                <c:pt idx="1817">
                  <c:v>12/10/2014 6:16</c:v>
                </c:pt>
                <c:pt idx="1818">
                  <c:v>12/10/2014 6:17</c:v>
                </c:pt>
                <c:pt idx="1819">
                  <c:v>12/10/2014 6:18</c:v>
                </c:pt>
                <c:pt idx="1820">
                  <c:v>12/10/2014 6:19</c:v>
                </c:pt>
                <c:pt idx="1821">
                  <c:v>12/10/2014 6:20</c:v>
                </c:pt>
                <c:pt idx="1822">
                  <c:v>12/10/2014 6:21</c:v>
                </c:pt>
                <c:pt idx="1823">
                  <c:v>12/10/2014 6:22</c:v>
                </c:pt>
                <c:pt idx="1824">
                  <c:v>12/10/2014 6:23</c:v>
                </c:pt>
                <c:pt idx="1825">
                  <c:v>12/10/2014 6:24</c:v>
                </c:pt>
                <c:pt idx="1826">
                  <c:v>12/10/2014 6:25</c:v>
                </c:pt>
                <c:pt idx="1827">
                  <c:v>12/10/2014 6:26</c:v>
                </c:pt>
                <c:pt idx="1828">
                  <c:v>12/10/2014 6:27</c:v>
                </c:pt>
                <c:pt idx="1829">
                  <c:v>12/10/2014 6:28</c:v>
                </c:pt>
                <c:pt idx="1830">
                  <c:v>12/10/2014 6:29</c:v>
                </c:pt>
                <c:pt idx="1831">
                  <c:v>12/10/2014 6:30</c:v>
                </c:pt>
                <c:pt idx="1832">
                  <c:v>12/10/2014 6:31</c:v>
                </c:pt>
                <c:pt idx="1833">
                  <c:v>12/10/2014 6:32</c:v>
                </c:pt>
                <c:pt idx="1834">
                  <c:v>12/10/2014 6:33</c:v>
                </c:pt>
                <c:pt idx="1835">
                  <c:v>12/10/2014 6:34</c:v>
                </c:pt>
                <c:pt idx="1836">
                  <c:v>12/10/2014 6:35</c:v>
                </c:pt>
                <c:pt idx="1837">
                  <c:v>12/10/2014 6:36</c:v>
                </c:pt>
                <c:pt idx="1838">
                  <c:v>12/10/2014 6:37</c:v>
                </c:pt>
                <c:pt idx="1839">
                  <c:v>12/10/2014 6:38</c:v>
                </c:pt>
                <c:pt idx="1840">
                  <c:v>12/10/2014 6:39</c:v>
                </c:pt>
                <c:pt idx="1841">
                  <c:v>12/10/2014 6:40</c:v>
                </c:pt>
                <c:pt idx="1842">
                  <c:v>12/10/2014 6:41</c:v>
                </c:pt>
                <c:pt idx="1843">
                  <c:v>12/10/2014 6:42</c:v>
                </c:pt>
                <c:pt idx="1844">
                  <c:v>12/10/2014 6:43</c:v>
                </c:pt>
                <c:pt idx="1845">
                  <c:v>12/10/2014 6:44</c:v>
                </c:pt>
                <c:pt idx="1846">
                  <c:v>12/10/2014 6:45</c:v>
                </c:pt>
                <c:pt idx="1847">
                  <c:v>12/10/2014 6:46</c:v>
                </c:pt>
                <c:pt idx="1848">
                  <c:v>12/10/2014 6:47</c:v>
                </c:pt>
                <c:pt idx="1849">
                  <c:v>12/10/2014 6:48</c:v>
                </c:pt>
                <c:pt idx="1850">
                  <c:v>12/10/2014 6:49</c:v>
                </c:pt>
                <c:pt idx="1851">
                  <c:v>12/10/2014 6:50</c:v>
                </c:pt>
                <c:pt idx="1852">
                  <c:v>12/10/2014 6:51</c:v>
                </c:pt>
                <c:pt idx="1853">
                  <c:v>12/10/2014 6:52</c:v>
                </c:pt>
                <c:pt idx="1854">
                  <c:v>12/10/2014 6:53</c:v>
                </c:pt>
                <c:pt idx="1855">
                  <c:v>12/10/2014 6:54</c:v>
                </c:pt>
                <c:pt idx="1856">
                  <c:v>12/10/2014 6:55</c:v>
                </c:pt>
                <c:pt idx="1857">
                  <c:v>12/10/2014 6:56</c:v>
                </c:pt>
                <c:pt idx="1858">
                  <c:v>12/10/2014 6:57</c:v>
                </c:pt>
                <c:pt idx="1859">
                  <c:v>12/10/2014 6:58</c:v>
                </c:pt>
                <c:pt idx="1860">
                  <c:v>12/10/2014 6:59</c:v>
                </c:pt>
                <c:pt idx="1861">
                  <c:v>12/10/2014 7:00</c:v>
                </c:pt>
                <c:pt idx="1862">
                  <c:v>12/10/2014 7:01</c:v>
                </c:pt>
                <c:pt idx="1863">
                  <c:v>12/10/2014 7:02</c:v>
                </c:pt>
                <c:pt idx="1864">
                  <c:v>12/10/2014 7:03</c:v>
                </c:pt>
                <c:pt idx="1865">
                  <c:v>12/10/2014 7:04</c:v>
                </c:pt>
                <c:pt idx="1866">
                  <c:v>12/10/2014 7:05</c:v>
                </c:pt>
                <c:pt idx="1867">
                  <c:v>12/10/2014 7:06</c:v>
                </c:pt>
                <c:pt idx="1868">
                  <c:v>12/10/2014 7:07</c:v>
                </c:pt>
                <c:pt idx="1869">
                  <c:v>12/10/2014 7:08</c:v>
                </c:pt>
                <c:pt idx="1870">
                  <c:v>12/10/2014 7:09</c:v>
                </c:pt>
                <c:pt idx="1871">
                  <c:v>12/10/2014 7:10</c:v>
                </c:pt>
                <c:pt idx="1872">
                  <c:v>12/10/2014 7:11</c:v>
                </c:pt>
                <c:pt idx="1873">
                  <c:v>12/10/2014 7:12</c:v>
                </c:pt>
                <c:pt idx="1874">
                  <c:v>12/10/2014 7:13</c:v>
                </c:pt>
                <c:pt idx="1875">
                  <c:v>12/10/2014 7:14</c:v>
                </c:pt>
                <c:pt idx="1876">
                  <c:v>12/10/2014 7:15</c:v>
                </c:pt>
                <c:pt idx="1877">
                  <c:v>12/10/2014 7:16</c:v>
                </c:pt>
                <c:pt idx="1878">
                  <c:v>12/10/2014 7:17</c:v>
                </c:pt>
                <c:pt idx="1879">
                  <c:v>12/10/2014 7:18</c:v>
                </c:pt>
                <c:pt idx="1880">
                  <c:v>12/10/2014 7:19</c:v>
                </c:pt>
                <c:pt idx="1881">
                  <c:v>12/10/2014 7:20</c:v>
                </c:pt>
                <c:pt idx="1882">
                  <c:v>12/10/2014 7:21</c:v>
                </c:pt>
                <c:pt idx="1883">
                  <c:v>12/10/2014 7:22</c:v>
                </c:pt>
                <c:pt idx="1884">
                  <c:v>12/10/2014 7:23</c:v>
                </c:pt>
                <c:pt idx="1885">
                  <c:v>12/10/2014 7:24</c:v>
                </c:pt>
                <c:pt idx="1886">
                  <c:v>12/10/2014 7:25</c:v>
                </c:pt>
                <c:pt idx="1887">
                  <c:v>12/10/2014 7:26</c:v>
                </c:pt>
                <c:pt idx="1888">
                  <c:v>12/10/2014 7:27</c:v>
                </c:pt>
                <c:pt idx="1889">
                  <c:v>12/10/2014 7:28</c:v>
                </c:pt>
                <c:pt idx="1890">
                  <c:v>12/10/2014 7:29</c:v>
                </c:pt>
                <c:pt idx="1891">
                  <c:v>12/10/2014 7:30</c:v>
                </c:pt>
                <c:pt idx="1892">
                  <c:v>12/10/2014 7:31</c:v>
                </c:pt>
                <c:pt idx="1893">
                  <c:v>12/10/2014 7:32</c:v>
                </c:pt>
                <c:pt idx="1894">
                  <c:v>12/10/2014 7:33</c:v>
                </c:pt>
                <c:pt idx="1895">
                  <c:v>12/10/2014 7:34</c:v>
                </c:pt>
                <c:pt idx="1896">
                  <c:v>12/10/2014 7:35</c:v>
                </c:pt>
                <c:pt idx="1897">
                  <c:v>12/10/2014 7:36</c:v>
                </c:pt>
                <c:pt idx="1898">
                  <c:v>12/10/2014 7:37</c:v>
                </c:pt>
                <c:pt idx="1899">
                  <c:v>12/10/2014 7:38</c:v>
                </c:pt>
                <c:pt idx="1900">
                  <c:v>12/10/2014 7:39</c:v>
                </c:pt>
                <c:pt idx="1901">
                  <c:v>12/10/2014 7:40</c:v>
                </c:pt>
                <c:pt idx="1902">
                  <c:v>12/10/2014 7:41</c:v>
                </c:pt>
                <c:pt idx="1903">
                  <c:v>12/10/2014 7:42</c:v>
                </c:pt>
                <c:pt idx="1904">
                  <c:v>12/10/2014 7:43</c:v>
                </c:pt>
                <c:pt idx="1905">
                  <c:v>12/10/2014 7:44</c:v>
                </c:pt>
                <c:pt idx="1906">
                  <c:v>12/10/2014 7:45</c:v>
                </c:pt>
                <c:pt idx="1907">
                  <c:v>12/10/2014 7:46</c:v>
                </c:pt>
                <c:pt idx="1908">
                  <c:v>12/10/2014 7:47</c:v>
                </c:pt>
                <c:pt idx="1909">
                  <c:v>12/10/2014 7:48</c:v>
                </c:pt>
                <c:pt idx="1910">
                  <c:v>12/10/2014 7:49</c:v>
                </c:pt>
                <c:pt idx="1911">
                  <c:v>12/10/2014 7:50</c:v>
                </c:pt>
                <c:pt idx="1912">
                  <c:v>12/10/2014 7:51</c:v>
                </c:pt>
                <c:pt idx="1913">
                  <c:v>12/10/2014 7:52</c:v>
                </c:pt>
                <c:pt idx="1914">
                  <c:v>12/10/2014 7:53</c:v>
                </c:pt>
                <c:pt idx="1915">
                  <c:v>12/10/2014 7:54</c:v>
                </c:pt>
                <c:pt idx="1916">
                  <c:v>12/10/2014 7:55</c:v>
                </c:pt>
                <c:pt idx="1917">
                  <c:v>12/10/2014 7:56</c:v>
                </c:pt>
                <c:pt idx="1918">
                  <c:v>12/10/2014 7:57</c:v>
                </c:pt>
                <c:pt idx="1919">
                  <c:v>12/10/2014 7:58</c:v>
                </c:pt>
                <c:pt idx="1920">
                  <c:v>12/10/2014 7:59</c:v>
                </c:pt>
                <c:pt idx="1921">
                  <c:v>12/10/2014 8:00</c:v>
                </c:pt>
                <c:pt idx="1922">
                  <c:v>12/10/2014 8:01</c:v>
                </c:pt>
                <c:pt idx="1923">
                  <c:v>12/10/2014 8:02</c:v>
                </c:pt>
                <c:pt idx="1924">
                  <c:v>12/10/2014 8:03</c:v>
                </c:pt>
                <c:pt idx="1925">
                  <c:v>12/10/2014 8:04</c:v>
                </c:pt>
                <c:pt idx="1926">
                  <c:v>12/10/2014 8:05</c:v>
                </c:pt>
                <c:pt idx="1927">
                  <c:v>12/10/2014 8:06</c:v>
                </c:pt>
                <c:pt idx="1928">
                  <c:v>12/10/2014 8:07</c:v>
                </c:pt>
                <c:pt idx="1929">
                  <c:v>12/10/2014 8:08</c:v>
                </c:pt>
                <c:pt idx="1930">
                  <c:v>12/10/2014 8:09</c:v>
                </c:pt>
                <c:pt idx="1931">
                  <c:v>12/10/2014 8:10</c:v>
                </c:pt>
                <c:pt idx="1932">
                  <c:v>12/10/2014 8:11</c:v>
                </c:pt>
                <c:pt idx="1933">
                  <c:v>12/10/2014 8:12</c:v>
                </c:pt>
                <c:pt idx="1934">
                  <c:v>12/10/2014 8:13</c:v>
                </c:pt>
                <c:pt idx="1935">
                  <c:v>12/10/2014 8:14</c:v>
                </c:pt>
                <c:pt idx="1936">
                  <c:v>12/10/2014 8:15</c:v>
                </c:pt>
                <c:pt idx="1937">
                  <c:v>12/10/2014 8:16</c:v>
                </c:pt>
                <c:pt idx="1938">
                  <c:v>12/10/2014 8:17</c:v>
                </c:pt>
                <c:pt idx="1939">
                  <c:v>12/10/2014 8:18</c:v>
                </c:pt>
                <c:pt idx="1940">
                  <c:v>12/10/2014 8:19</c:v>
                </c:pt>
                <c:pt idx="1941">
                  <c:v>12/10/2014 8:20</c:v>
                </c:pt>
                <c:pt idx="1942">
                  <c:v>12/10/2014 8:21</c:v>
                </c:pt>
                <c:pt idx="1943">
                  <c:v>12/10/2014 8:22</c:v>
                </c:pt>
                <c:pt idx="1944">
                  <c:v>12/10/2014 8:23</c:v>
                </c:pt>
                <c:pt idx="1945">
                  <c:v>12/10/2014 8:24</c:v>
                </c:pt>
                <c:pt idx="1946">
                  <c:v>12/10/2014 8:25</c:v>
                </c:pt>
                <c:pt idx="1947">
                  <c:v>12/10/2014 8:26</c:v>
                </c:pt>
                <c:pt idx="1948">
                  <c:v>12/10/2014 8:27</c:v>
                </c:pt>
                <c:pt idx="1949">
                  <c:v>12/10/2014 8:28</c:v>
                </c:pt>
                <c:pt idx="1950">
                  <c:v>12/10/2014 8:29</c:v>
                </c:pt>
                <c:pt idx="1951">
                  <c:v>12/10/2014 8:30</c:v>
                </c:pt>
                <c:pt idx="1952">
                  <c:v>12/10/2014 8:31</c:v>
                </c:pt>
                <c:pt idx="1953">
                  <c:v>12/10/2014 8:32</c:v>
                </c:pt>
                <c:pt idx="1954">
                  <c:v>12/10/2014 8:33</c:v>
                </c:pt>
                <c:pt idx="1955">
                  <c:v>12/10/2014 8:34</c:v>
                </c:pt>
                <c:pt idx="1956">
                  <c:v>12/10/2014 8:35</c:v>
                </c:pt>
                <c:pt idx="1957">
                  <c:v>12/10/2014 8:36</c:v>
                </c:pt>
                <c:pt idx="1958">
                  <c:v>12/10/2014 8:37</c:v>
                </c:pt>
                <c:pt idx="1959">
                  <c:v>12/10/2014 8:38</c:v>
                </c:pt>
                <c:pt idx="1960">
                  <c:v>12/10/2014 8:39</c:v>
                </c:pt>
                <c:pt idx="1961">
                  <c:v>12/10/2014 8:40</c:v>
                </c:pt>
                <c:pt idx="1962">
                  <c:v>12/10/2014 8:41</c:v>
                </c:pt>
                <c:pt idx="1963">
                  <c:v>12/10/2014 8:42</c:v>
                </c:pt>
                <c:pt idx="1964">
                  <c:v>12/10/2014 8:43</c:v>
                </c:pt>
                <c:pt idx="1965">
                  <c:v>12/10/2014 8:44</c:v>
                </c:pt>
                <c:pt idx="1966">
                  <c:v>12/10/2014 8:45</c:v>
                </c:pt>
                <c:pt idx="1967">
                  <c:v>12/10/2014 8:46</c:v>
                </c:pt>
                <c:pt idx="1968">
                  <c:v>12/10/2014 8:47</c:v>
                </c:pt>
                <c:pt idx="1969">
                  <c:v>12/10/2014 8:48</c:v>
                </c:pt>
                <c:pt idx="1970">
                  <c:v>12/10/2014 8:49</c:v>
                </c:pt>
                <c:pt idx="1971">
                  <c:v>12/10/2014 8:50</c:v>
                </c:pt>
                <c:pt idx="1972">
                  <c:v>12/10/2014 8:51</c:v>
                </c:pt>
                <c:pt idx="1973">
                  <c:v>12/10/2014 8:52</c:v>
                </c:pt>
                <c:pt idx="1974">
                  <c:v>12/10/2014 8:53</c:v>
                </c:pt>
                <c:pt idx="1975">
                  <c:v>12/10/2014 8:54</c:v>
                </c:pt>
                <c:pt idx="1976">
                  <c:v>12/10/2014 8:55</c:v>
                </c:pt>
                <c:pt idx="1977">
                  <c:v>12/10/2014 8:56</c:v>
                </c:pt>
                <c:pt idx="1978">
                  <c:v>12/10/2014 8:57</c:v>
                </c:pt>
                <c:pt idx="1979">
                  <c:v>12/10/2014 8:58</c:v>
                </c:pt>
                <c:pt idx="1980">
                  <c:v>12/10/2014 8:59</c:v>
                </c:pt>
                <c:pt idx="1981">
                  <c:v>12/10/2014 9:00</c:v>
                </c:pt>
                <c:pt idx="1982">
                  <c:v>12/10/2014 9:01</c:v>
                </c:pt>
                <c:pt idx="1983">
                  <c:v>12/10/2014 9:02</c:v>
                </c:pt>
                <c:pt idx="1984">
                  <c:v>12/10/2014 9:03</c:v>
                </c:pt>
                <c:pt idx="1985">
                  <c:v>12/10/2014 9:04</c:v>
                </c:pt>
                <c:pt idx="1986">
                  <c:v>12/10/2014 9:05</c:v>
                </c:pt>
                <c:pt idx="1987">
                  <c:v>12/10/2014 9:06</c:v>
                </c:pt>
                <c:pt idx="1988">
                  <c:v>12/10/2014 9:07</c:v>
                </c:pt>
                <c:pt idx="1989">
                  <c:v>12/10/2014 9:08</c:v>
                </c:pt>
                <c:pt idx="1990">
                  <c:v>12/10/2014 9:09</c:v>
                </c:pt>
                <c:pt idx="1991">
                  <c:v>12/10/2014 9:10</c:v>
                </c:pt>
                <c:pt idx="1992">
                  <c:v>12/10/2014 9:11</c:v>
                </c:pt>
                <c:pt idx="1993">
                  <c:v>12/10/2014 9:12</c:v>
                </c:pt>
                <c:pt idx="1994">
                  <c:v>12/10/2014 9:13</c:v>
                </c:pt>
                <c:pt idx="1995">
                  <c:v>12/10/2014 9:14</c:v>
                </c:pt>
                <c:pt idx="1996">
                  <c:v>12/10/2014 9:15</c:v>
                </c:pt>
                <c:pt idx="1997">
                  <c:v>12/10/2014 9:16</c:v>
                </c:pt>
                <c:pt idx="1998">
                  <c:v>12/10/2014 9:17</c:v>
                </c:pt>
                <c:pt idx="1999">
                  <c:v>12/10/2014 9:18</c:v>
                </c:pt>
                <c:pt idx="2000">
                  <c:v>12/10/2014 9:19</c:v>
                </c:pt>
                <c:pt idx="2001">
                  <c:v>12/10/2014 9:20</c:v>
                </c:pt>
                <c:pt idx="2002">
                  <c:v>12/10/2014 9:21</c:v>
                </c:pt>
                <c:pt idx="2003">
                  <c:v>12/10/2014 9:22</c:v>
                </c:pt>
                <c:pt idx="2004">
                  <c:v>12/10/2014 9:23</c:v>
                </c:pt>
                <c:pt idx="2005">
                  <c:v>12/10/2014 9:24</c:v>
                </c:pt>
                <c:pt idx="2006">
                  <c:v>12/10/2014 9:25</c:v>
                </c:pt>
                <c:pt idx="2007">
                  <c:v>12/10/2014 9:26</c:v>
                </c:pt>
                <c:pt idx="2008">
                  <c:v>12/10/2014 9:27</c:v>
                </c:pt>
                <c:pt idx="2009">
                  <c:v>12/10/2014 9:28</c:v>
                </c:pt>
                <c:pt idx="2010">
                  <c:v>12/10/2014 9:29</c:v>
                </c:pt>
                <c:pt idx="2011">
                  <c:v>12/10/2014 9:30</c:v>
                </c:pt>
                <c:pt idx="2012">
                  <c:v>12/10/2014 9:31</c:v>
                </c:pt>
                <c:pt idx="2013">
                  <c:v>12/10/2014 9:32</c:v>
                </c:pt>
                <c:pt idx="2014">
                  <c:v>12/10/2014 9:33</c:v>
                </c:pt>
                <c:pt idx="2015">
                  <c:v>12/10/2014 9:34</c:v>
                </c:pt>
                <c:pt idx="2016">
                  <c:v>12/10/2014 9:35</c:v>
                </c:pt>
                <c:pt idx="2017">
                  <c:v>12/10/2014 9:36</c:v>
                </c:pt>
                <c:pt idx="2018">
                  <c:v>12/10/2014 9:37</c:v>
                </c:pt>
                <c:pt idx="2019">
                  <c:v>12/10/2014 9:38</c:v>
                </c:pt>
                <c:pt idx="2020">
                  <c:v>12/10/2014 9:39</c:v>
                </c:pt>
                <c:pt idx="2021">
                  <c:v>12/10/2014 9:40</c:v>
                </c:pt>
                <c:pt idx="2022">
                  <c:v>12/10/2014 9:41</c:v>
                </c:pt>
                <c:pt idx="2023">
                  <c:v>12/10/2014 9:42</c:v>
                </c:pt>
                <c:pt idx="2024">
                  <c:v>12/10/2014 9:43</c:v>
                </c:pt>
                <c:pt idx="2025">
                  <c:v>12/10/2014 9:44</c:v>
                </c:pt>
                <c:pt idx="2026">
                  <c:v>12/10/2014 9:45</c:v>
                </c:pt>
                <c:pt idx="2027">
                  <c:v>12/10/2014 9:46</c:v>
                </c:pt>
                <c:pt idx="2028">
                  <c:v>12/10/2014 9:47</c:v>
                </c:pt>
                <c:pt idx="2029">
                  <c:v>12/10/2014 9:48</c:v>
                </c:pt>
                <c:pt idx="2030">
                  <c:v>12/10/2014 9:49</c:v>
                </c:pt>
                <c:pt idx="2031">
                  <c:v>12/10/2014 9:50</c:v>
                </c:pt>
                <c:pt idx="2032">
                  <c:v>12/10/2014 9:51</c:v>
                </c:pt>
                <c:pt idx="2033">
                  <c:v>12/10/2014 9:52</c:v>
                </c:pt>
                <c:pt idx="2034">
                  <c:v>12/10/2014 9:53</c:v>
                </c:pt>
                <c:pt idx="2035">
                  <c:v>12/10/2014 9:54</c:v>
                </c:pt>
                <c:pt idx="2036">
                  <c:v>12/10/2014 9:55</c:v>
                </c:pt>
                <c:pt idx="2037">
                  <c:v>12/10/2014 9:56</c:v>
                </c:pt>
                <c:pt idx="2038">
                  <c:v>12/10/2014 9:57</c:v>
                </c:pt>
                <c:pt idx="2039">
                  <c:v>12/10/2014 9:58</c:v>
                </c:pt>
                <c:pt idx="2040">
                  <c:v>12/10/2014 9:59</c:v>
                </c:pt>
                <c:pt idx="2041">
                  <c:v>12/10/2014 10:00</c:v>
                </c:pt>
                <c:pt idx="2042">
                  <c:v>12/10/2014 10:01</c:v>
                </c:pt>
                <c:pt idx="2043">
                  <c:v>12/10/2014 10:02</c:v>
                </c:pt>
                <c:pt idx="2044">
                  <c:v>12/10/2014 10:03</c:v>
                </c:pt>
                <c:pt idx="2045">
                  <c:v>12/10/2014 10:04</c:v>
                </c:pt>
                <c:pt idx="2046">
                  <c:v>12/10/2014 10:05</c:v>
                </c:pt>
                <c:pt idx="2047">
                  <c:v>12/10/2014 10:06</c:v>
                </c:pt>
                <c:pt idx="2048">
                  <c:v>12/10/2014 10:07</c:v>
                </c:pt>
                <c:pt idx="2049">
                  <c:v>12/10/2014 10:08</c:v>
                </c:pt>
                <c:pt idx="2050">
                  <c:v>12/10/2014 10:09</c:v>
                </c:pt>
                <c:pt idx="2051">
                  <c:v>12/10/2014 10:10</c:v>
                </c:pt>
                <c:pt idx="2052">
                  <c:v>12/10/2014 10:11</c:v>
                </c:pt>
                <c:pt idx="2053">
                  <c:v>12/10/2014 10:12</c:v>
                </c:pt>
                <c:pt idx="2054">
                  <c:v>12/10/2014 10:13</c:v>
                </c:pt>
                <c:pt idx="2055">
                  <c:v>12/10/2014 10:14</c:v>
                </c:pt>
                <c:pt idx="2056">
                  <c:v>12/10/2014 10:15</c:v>
                </c:pt>
                <c:pt idx="2057">
                  <c:v>12/10/2014 10:16</c:v>
                </c:pt>
                <c:pt idx="2058">
                  <c:v>12/10/2014 10:17</c:v>
                </c:pt>
                <c:pt idx="2059">
                  <c:v>12/10/2014 10:18</c:v>
                </c:pt>
                <c:pt idx="2060">
                  <c:v>12/10/2014 10:19</c:v>
                </c:pt>
                <c:pt idx="2061">
                  <c:v>12/10/2014 10:20</c:v>
                </c:pt>
                <c:pt idx="2062">
                  <c:v>12/10/2014 10:21</c:v>
                </c:pt>
                <c:pt idx="2063">
                  <c:v>12/10/2014 10:22</c:v>
                </c:pt>
                <c:pt idx="2064">
                  <c:v>12/10/2014 10:23</c:v>
                </c:pt>
                <c:pt idx="2065">
                  <c:v>12/10/2014 10:24</c:v>
                </c:pt>
                <c:pt idx="2066">
                  <c:v>12/10/2014 10:25</c:v>
                </c:pt>
                <c:pt idx="2067">
                  <c:v>12/10/2014 10:26</c:v>
                </c:pt>
                <c:pt idx="2068">
                  <c:v>12/10/2014 10:27</c:v>
                </c:pt>
                <c:pt idx="2069">
                  <c:v>12/10/2014 10:28</c:v>
                </c:pt>
                <c:pt idx="2070">
                  <c:v>12/10/2014 10:29</c:v>
                </c:pt>
                <c:pt idx="2071">
                  <c:v>12/10/2014 10:30</c:v>
                </c:pt>
                <c:pt idx="2072">
                  <c:v>12/10/2014 10:31</c:v>
                </c:pt>
                <c:pt idx="2073">
                  <c:v>12/10/2014 10:32</c:v>
                </c:pt>
                <c:pt idx="2074">
                  <c:v>12/10/2014 10:33</c:v>
                </c:pt>
                <c:pt idx="2075">
                  <c:v>12/10/2014 10:34</c:v>
                </c:pt>
                <c:pt idx="2076">
                  <c:v>12/10/2014 10:35</c:v>
                </c:pt>
                <c:pt idx="2077">
                  <c:v>12/10/2014 10:36</c:v>
                </c:pt>
                <c:pt idx="2078">
                  <c:v>12/10/2014 10:37</c:v>
                </c:pt>
                <c:pt idx="2079">
                  <c:v>12/10/2014 10:38</c:v>
                </c:pt>
                <c:pt idx="2080">
                  <c:v>12/10/2014 10:39</c:v>
                </c:pt>
                <c:pt idx="2081">
                  <c:v>12/10/2014 10:40</c:v>
                </c:pt>
                <c:pt idx="2082">
                  <c:v>12/10/2014 10:41</c:v>
                </c:pt>
                <c:pt idx="2083">
                  <c:v>12/10/2014 10:42</c:v>
                </c:pt>
                <c:pt idx="2084">
                  <c:v>12/10/2014 10:43</c:v>
                </c:pt>
                <c:pt idx="2085">
                  <c:v>12/10/2014 10:44</c:v>
                </c:pt>
                <c:pt idx="2086">
                  <c:v>12/10/2014 10:45</c:v>
                </c:pt>
                <c:pt idx="2087">
                  <c:v>12/10/2014 10:46</c:v>
                </c:pt>
                <c:pt idx="2088">
                  <c:v>12/10/2014 10:47</c:v>
                </c:pt>
                <c:pt idx="2089">
                  <c:v>12/10/2014 10:48</c:v>
                </c:pt>
                <c:pt idx="2090">
                  <c:v>12/10/2014 10:49</c:v>
                </c:pt>
                <c:pt idx="2091">
                  <c:v>12/10/2014 10:50</c:v>
                </c:pt>
                <c:pt idx="2092">
                  <c:v>12/10/2014 10:51</c:v>
                </c:pt>
                <c:pt idx="2093">
                  <c:v>12/10/2014 10:52</c:v>
                </c:pt>
                <c:pt idx="2094">
                  <c:v>12/10/2014 10:53</c:v>
                </c:pt>
                <c:pt idx="2095">
                  <c:v>12/10/2014 10:54</c:v>
                </c:pt>
                <c:pt idx="2096">
                  <c:v>12/10/2014 10:55</c:v>
                </c:pt>
                <c:pt idx="2097">
                  <c:v>12/10/2014 10:56</c:v>
                </c:pt>
                <c:pt idx="2098">
                  <c:v>12/10/2014 10:57</c:v>
                </c:pt>
                <c:pt idx="2099">
                  <c:v>12/10/2014 10:58</c:v>
                </c:pt>
                <c:pt idx="2100">
                  <c:v>12/10/2014 10:59</c:v>
                </c:pt>
                <c:pt idx="2101">
                  <c:v>12/10/2014 11:00</c:v>
                </c:pt>
                <c:pt idx="2102">
                  <c:v>12/10/2014 11:01</c:v>
                </c:pt>
                <c:pt idx="2103">
                  <c:v>12/10/2014 11:02</c:v>
                </c:pt>
                <c:pt idx="2104">
                  <c:v>12/10/2014 11:03</c:v>
                </c:pt>
                <c:pt idx="2105">
                  <c:v>12/10/2014 11:04</c:v>
                </c:pt>
                <c:pt idx="2106">
                  <c:v>12/10/2014 11:05</c:v>
                </c:pt>
                <c:pt idx="2107">
                  <c:v>12/10/2014 11:06</c:v>
                </c:pt>
                <c:pt idx="2108">
                  <c:v>12/10/2014 11:07</c:v>
                </c:pt>
                <c:pt idx="2109">
                  <c:v>12/10/2014 11:08</c:v>
                </c:pt>
                <c:pt idx="2110">
                  <c:v>12/10/2014 11:09</c:v>
                </c:pt>
                <c:pt idx="2111">
                  <c:v>12/10/2014 11:10</c:v>
                </c:pt>
                <c:pt idx="2112">
                  <c:v>12/10/2014 11:11</c:v>
                </c:pt>
                <c:pt idx="2113">
                  <c:v>12/10/2014 11:12</c:v>
                </c:pt>
                <c:pt idx="2114">
                  <c:v>12/10/2014 11:13</c:v>
                </c:pt>
                <c:pt idx="2115">
                  <c:v>12/10/2014 11:14</c:v>
                </c:pt>
                <c:pt idx="2116">
                  <c:v>12/10/2014 11:15</c:v>
                </c:pt>
                <c:pt idx="2117">
                  <c:v>12/10/2014 11:16</c:v>
                </c:pt>
                <c:pt idx="2118">
                  <c:v>12/10/2014 11:17</c:v>
                </c:pt>
                <c:pt idx="2119">
                  <c:v>12/10/2014 11:18</c:v>
                </c:pt>
                <c:pt idx="2120">
                  <c:v>12/10/2014 11:19</c:v>
                </c:pt>
                <c:pt idx="2121">
                  <c:v>12/10/2014 11:20</c:v>
                </c:pt>
                <c:pt idx="2122">
                  <c:v>12/10/2014 11:21</c:v>
                </c:pt>
                <c:pt idx="2123">
                  <c:v>12/10/2014 11:22</c:v>
                </c:pt>
                <c:pt idx="2124">
                  <c:v>12/10/2014 11:23</c:v>
                </c:pt>
                <c:pt idx="2125">
                  <c:v>12/10/2014 11:24</c:v>
                </c:pt>
                <c:pt idx="2126">
                  <c:v>12/10/2014 11:25</c:v>
                </c:pt>
                <c:pt idx="2127">
                  <c:v>12/10/2014 11:26</c:v>
                </c:pt>
                <c:pt idx="2128">
                  <c:v>12/10/2014 11:27</c:v>
                </c:pt>
                <c:pt idx="2129">
                  <c:v>12/10/2014 11:28</c:v>
                </c:pt>
                <c:pt idx="2130">
                  <c:v>12/10/2014 11:29</c:v>
                </c:pt>
                <c:pt idx="2131">
                  <c:v>12/10/2014 11:30</c:v>
                </c:pt>
                <c:pt idx="2132">
                  <c:v>12/10/2014 11:31</c:v>
                </c:pt>
                <c:pt idx="2133">
                  <c:v>12/10/2014 11:32</c:v>
                </c:pt>
                <c:pt idx="2134">
                  <c:v>12/10/2014 11:33</c:v>
                </c:pt>
                <c:pt idx="2135">
                  <c:v>12/10/2014 11:34</c:v>
                </c:pt>
                <c:pt idx="2136">
                  <c:v>12/10/2014 11:35</c:v>
                </c:pt>
                <c:pt idx="2137">
                  <c:v>12/10/2014 11:36</c:v>
                </c:pt>
                <c:pt idx="2138">
                  <c:v>12/10/2014 11:37</c:v>
                </c:pt>
                <c:pt idx="2139">
                  <c:v>12/10/2014 11:38</c:v>
                </c:pt>
                <c:pt idx="2140">
                  <c:v>12/10/2014 11:39</c:v>
                </c:pt>
                <c:pt idx="2141">
                  <c:v>12/10/2014 11:40</c:v>
                </c:pt>
                <c:pt idx="2142">
                  <c:v>12/10/2014 11:41</c:v>
                </c:pt>
                <c:pt idx="2143">
                  <c:v>12/10/2014 11:42</c:v>
                </c:pt>
                <c:pt idx="2144">
                  <c:v>12/10/2014 11:43</c:v>
                </c:pt>
                <c:pt idx="2145">
                  <c:v>12/10/2014 11:44</c:v>
                </c:pt>
                <c:pt idx="2146">
                  <c:v>12/10/2014 11:45</c:v>
                </c:pt>
                <c:pt idx="2147">
                  <c:v>12/10/2014 11:46</c:v>
                </c:pt>
                <c:pt idx="2148">
                  <c:v>12/10/2014 11:47</c:v>
                </c:pt>
                <c:pt idx="2149">
                  <c:v>12/10/2014 11:48</c:v>
                </c:pt>
                <c:pt idx="2150">
                  <c:v>12/10/2014 11:49</c:v>
                </c:pt>
                <c:pt idx="2151">
                  <c:v>12/10/2014 11:50</c:v>
                </c:pt>
                <c:pt idx="2152">
                  <c:v>12/10/2014 11:51</c:v>
                </c:pt>
                <c:pt idx="2153">
                  <c:v>12/10/2014 11:52</c:v>
                </c:pt>
                <c:pt idx="2154">
                  <c:v>12/10/2014 11:53</c:v>
                </c:pt>
                <c:pt idx="2155">
                  <c:v>12/10/2014 11:54</c:v>
                </c:pt>
                <c:pt idx="2156">
                  <c:v>12/10/2014 11:55</c:v>
                </c:pt>
                <c:pt idx="2157">
                  <c:v>12/10/2014 11:56</c:v>
                </c:pt>
                <c:pt idx="2158">
                  <c:v>12/10/2014 11:57</c:v>
                </c:pt>
                <c:pt idx="2159">
                  <c:v>12/10/2014 11:58</c:v>
                </c:pt>
                <c:pt idx="2160">
                  <c:v>12/10/2014 11:59</c:v>
                </c:pt>
                <c:pt idx="2161">
                  <c:v>12/10/2014 12:00</c:v>
                </c:pt>
                <c:pt idx="2162">
                  <c:v>12/10/2014 12:01</c:v>
                </c:pt>
                <c:pt idx="2163">
                  <c:v>12/10/2014 12:02</c:v>
                </c:pt>
                <c:pt idx="2164">
                  <c:v>12/10/2014 12:03</c:v>
                </c:pt>
                <c:pt idx="2165">
                  <c:v>12/10/2014 12:04</c:v>
                </c:pt>
                <c:pt idx="2166">
                  <c:v>12/10/2014 12:05</c:v>
                </c:pt>
                <c:pt idx="2167">
                  <c:v>12/10/2014 12:06</c:v>
                </c:pt>
                <c:pt idx="2168">
                  <c:v>12/10/2014 12:07</c:v>
                </c:pt>
                <c:pt idx="2169">
                  <c:v>12/10/2014 12:08</c:v>
                </c:pt>
                <c:pt idx="2170">
                  <c:v>12/10/2014 12:09</c:v>
                </c:pt>
                <c:pt idx="2171">
                  <c:v>12/10/2014 12:10</c:v>
                </c:pt>
                <c:pt idx="2172">
                  <c:v>12/10/2014 12:11</c:v>
                </c:pt>
                <c:pt idx="2173">
                  <c:v>12/10/2014 12:12</c:v>
                </c:pt>
                <c:pt idx="2174">
                  <c:v>12/10/2014 12:13</c:v>
                </c:pt>
                <c:pt idx="2175">
                  <c:v>12/10/2014 12:14</c:v>
                </c:pt>
                <c:pt idx="2176">
                  <c:v>12/10/2014 12:15</c:v>
                </c:pt>
                <c:pt idx="2177">
                  <c:v>12/10/2014 12:16</c:v>
                </c:pt>
                <c:pt idx="2178">
                  <c:v>12/10/2014 12:17</c:v>
                </c:pt>
                <c:pt idx="2179">
                  <c:v>12/10/2014 12:18</c:v>
                </c:pt>
                <c:pt idx="2180">
                  <c:v>12/10/2014 12:19</c:v>
                </c:pt>
                <c:pt idx="2181">
                  <c:v>12/10/2014 12:20</c:v>
                </c:pt>
                <c:pt idx="2182">
                  <c:v>12/10/2014 12:21</c:v>
                </c:pt>
                <c:pt idx="2183">
                  <c:v>12/10/2014 12:22</c:v>
                </c:pt>
                <c:pt idx="2184">
                  <c:v>12/10/2014 12:23</c:v>
                </c:pt>
                <c:pt idx="2185">
                  <c:v>12/10/2014 12:24</c:v>
                </c:pt>
                <c:pt idx="2186">
                  <c:v>12/10/2014 12:25</c:v>
                </c:pt>
                <c:pt idx="2187">
                  <c:v>12/10/2014 12:26</c:v>
                </c:pt>
                <c:pt idx="2188">
                  <c:v>12/10/2014 12:27</c:v>
                </c:pt>
                <c:pt idx="2189">
                  <c:v>12/10/2014 12:28</c:v>
                </c:pt>
                <c:pt idx="2190">
                  <c:v>12/10/2014 12:29</c:v>
                </c:pt>
                <c:pt idx="2191">
                  <c:v>12/10/2014 12:30</c:v>
                </c:pt>
                <c:pt idx="2192">
                  <c:v>12/10/2014 12:31</c:v>
                </c:pt>
                <c:pt idx="2193">
                  <c:v>12/10/2014 12:32</c:v>
                </c:pt>
                <c:pt idx="2194">
                  <c:v>12/10/2014 12:33</c:v>
                </c:pt>
                <c:pt idx="2195">
                  <c:v>12/10/2014 12:34</c:v>
                </c:pt>
                <c:pt idx="2196">
                  <c:v>12/10/2014 12:35</c:v>
                </c:pt>
                <c:pt idx="2197">
                  <c:v>12/10/2014 12:36</c:v>
                </c:pt>
                <c:pt idx="2198">
                  <c:v>12/10/2014 12:37</c:v>
                </c:pt>
                <c:pt idx="2199">
                  <c:v>12/10/2014 12:38</c:v>
                </c:pt>
                <c:pt idx="2200">
                  <c:v>12/10/2014 12:39</c:v>
                </c:pt>
                <c:pt idx="2201">
                  <c:v>12/10/2014 12:40</c:v>
                </c:pt>
                <c:pt idx="2202">
                  <c:v>12/10/2014 12:41</c:v>
                </c:pt>
                <c:pt idx="2203">
                  <c:v>12/10/2014 12:42</c:v>
                </c:pt>
                <c:pt idx="2204">
                  <c:v>12/10/2014 12:43</c:v>
                </c:pt>
                <c:pt idx="2205">
                  <c:v>12/10/2014 12:44</c:v>
                </c:pt>
                <c:pt idx="2206">
                  <c:v>12/10/2014 12:45</c:v>
                </c:pt>
                <c:pt idx="2207">
                  <c:v>12/10/2014 12:46</c:v>
                </c:pt>
                <c:pt idx="2208">
                  <c:v>12/10/2014 12:47</c:v>
                </c:pt>
                <c:pt idx="2209">
                  <c:v>12/10/2014 12:48</c:v>
                </c:pt>
                <c:pt idx="2210">
                  <c:v>12/10/2014 12:49</c:v>
                </c:pt>
                <c:pt idx="2211">
                  <c:v>12/10/2014 12:50</c:v>
                </c:pt>
                <c:pt idx="2212">
                  <c:v>12/10/2014 12:51</c:v>
                </c:pt>
                <c:pt idx="2213">
                  <c:v>12/10/2014 12:52</c:v>
                </c:pt>
                <c:pt idx="2214">
                  <c:v>12/10/2014 12:53</c:v>
                </c:pt>
                <c:pt idx="2215">
                  <c:v>12/10/2014 12:54</c:v>
                </c:pt>
                <c:pt idx="2216">
                  <c:v>12/10/2014 12:55</c:v>
                </c:pt>
                <c:pt idx="2217">
                  <c:v>12/10/2014 12:56</c:v>
                </c:pt>
                <c:pt idx="2218">
                  <c:v>12/10/2014 12:57</c:v>
                </c:pt>
                <c:pt idx="2219">
                  <c:v>12/10/2014 12:58</c:v>
                </c:pt>
                <c:pt idx="2220">
                  <c:v>12/10/2014 12:59</c:v>
                </c:pt>
                <c:pt idx="2221">
                  <c:v>12/10/2014 13:00</c:v>
                </c:pt>
                <c:pt idx="2222">
                  <c:v>12/10/2014 13:01</c:v>
                </c:pt>
                <c:pt idx="2223">
                  <c:v>12/10/2014 13:02</c:v>
                </c:pt>
                <c:pt idx="2224">
                  <c:v>12/10/2014 13:03</c:v>
                </c:pt>
                <c:pt idx="2225">
                  <c:v>12/10/2014 13:04</c:v>
                </c:pt>
                <c:pt idx="2226">
                  <c:v>12/10/2014 13:05</c:v>
                </c:pt>
                <c:pt idx="2227">
                  <c:v>12/10/2014 13:06</c:v>
                </c:pt>
                <c:pt idx="2228">
                  <c:v>12/10/2014 13:07</c:v>
                </c:pt>
                <c:pt idx="2229">
                  <c:v>12/10/2014 13:08</c:v>
                </c:pt>
                <c:pt idx="2230">
                  <c:v>12/10/2014 13:09</c:v>
                </c:pt>
                <c:pt idx="2231">
                  <c:v>12/10/2014 13:10</c:v>
                </c:pt>
                <c:pt idx="2232">
                  <c:v>12/10/2014 13:11</c:v>
                </c:pt>
                <c:pt idx="2233">
                  <c:v>12/10/2014 13:12</c:v>
                </c:pt>
                <c:pt idx="2234">
                  <c:v>12/10/2014 13:13</c:v>
                </c:pt>
                <c:pt idx="2235">
                  <c:v>12/10/2014 13:14</c:v>
                </c:pt>
                <c:pt idx="2236">
                  <c:v>12/10/2014 13:15</c:v>
                </c:pt>
                <c:pt idx="2237">
                  <c:v>12/10/2014 13:16</c:v>
                </c:pt>
                <c:pt idx="2238">
                  <c:v>12/10/2014 13:17</c:v>
                </c:pt>
                <c:pt idx="2239">
                  <c:v>12/10/2014 13:18</c:v>
                </c:pt>
                <c:pt idx="2240">
                  <c:v>12/10/2014 13:19</c:v>
                </c:pt>
                <c:pt idx="2241">
                  <c:v>12/10/2014 13:20</c:v>
                </c:pt>
                <c:pt idx="2242">
                  <c:v>12/10/2014 13:21</c:v>
                </c:pt>
                <c:pt idx="2243">
                  <c:v>12/10/2014 13:22</c:v>
                </c:pt>
                <c:pt idx="2244">
                  <c:v>12/10/2014 13:23</c:v>
                </c:pt>
                <c:pt idx="2245">
                  <c:v>12/10/2014 13:24</c:v>
                </c:pt>
                <c:pt idx="2246">
                  <c:v>12/10/2014 13:25</c:v>
                </c:pt>
                <c:pt idx="2247">
                  <c:v>12/10/2014 13:26</c:v>
                </c:pt>
                <c:pt idx="2248">
                  <c:v>12/10/2014 13:27</c:v>
                </c:pt>
                <c:pt idx="2249">
                  <c:v>12/10/2014 13:28</c:v>
                </c:pt>
                <c:pt idx="2250">
                  <c:v>12/10/2014 13:29</c:v>
                </c:pt>
                <c:pt idx="2251">
                  <c:v>12/10/2014 13:30</c:v>
                </c:pt>
                <c:pt idx="2252">
                  <c:v>12/10/2014 13:31</c:v>
                </c:pt>
                <c:pt idx="2253">
                  <c:v>12/10/2014 13:32</c:v>
                </c:pt>
                <c:pt idx="2254">
                  <c:v>12/10/2014 13:33</c:v>
                </c:pt>
                <c:pt idx="2255">
                  <c:v>12/10/2014 13:34</c:v>
                </c:pt>
                <c:pt idx="2256">
                  <c:v>12/10/2014 13:35</c:v>
                </c:pt>
                <c:pt idx="2257">
                  <c:v>12/10/2014 13:36</c:v>
                </c:pt>
                <c:pt idx="2258">
                  <c:v>12/10/2014 13:37</c:v>
                </c:pt>
                <c:pt idx="2259">
                  <c:v>12/10/2014 13:38</c:v>
                </c:pt>
                <c:pt idx="2260">
                  <c:v>12/10/2014 13:39</c:v>
                </c:pt>
                <c:pt idx="2261">
                  <c:v>12/10/2014 13:40</c:v>
                </c:pt>
                <c:pt idx="2262">
                  <c:v>12/10/2014 13:41</c:v>
                </c:pt>
                <c:pt idx="2263">
                  <c:v>12/10/2014 13:42</c:v>
                </c:pt>
                <c:pt idx="2264">
                  <c:v>12/10/2014 13:43</c:v>
                </c:pt>
                <c:pt idx="2265">
                  <c:v>12/10/2014 13:44</c:v>
                </c:pt>
                <c:pt idx="2266">
                  <c:v>12/10/2014 13:45</c:v>
                </c:pt>
                <c:pt idx="2267">
                  <c:v>12/10/2014 13:46</c:v>
                </c:pt>
                <c:pt idx="2268">
                  <c:v>12/10/2014 13:47</c:v>
                </c:pt>
                <c:pt idx="2269">
                  <c:v>12/10/2014 13:48</c:v>
                </c:pt>
                <c:pt idx="2270">
                  <c:v>12/10/2014 13:49</c:v>
                </c:pt>
                <c:pt idx="2271">
                  <c:v>12/10/2014 13:50</c:v>
                </c:pt>
                <c:pt idx="2272">
                  <c:v>12/10/2014 13:51</c:v>
                </c:pt>
                <c:pt idx="2273">
                  <c:v>12/10/2014 13:52</c:v>
                </c:pt>
                <c:pt idx="2274">
                  <c:v>12/10/2014 13:53</c:v>
                </c:pt>
                <c:pt idx="2275">
                  <c:v>12/10/2014 13:54</c:v>
                </c:pt>
                <c:pt idx="2276">
                  <c:v>12/10/2014 13:55</c:v>
                </c:pt>
                <c:pt idx="2277">
                  <c:v>12/10/2014 13:56</c:v>
                </c:pt>
                <c:pt idx="2278">
                  <c:v>12/10/2014 13:57</c:v>
                </c:pt>
                <c:pt idx="2279">
                  <c:v>12/10/2014 13:58</c:v>
                </c:pt>
                <c:pt idx="2280">
                  <c:v>12/10/2014 13:59</c:v>
                </c:pt>
                <c:pt idx="2281">
                  <c:v>12/10/2014 14:00</c:v>
                </c:pt>
                <c:pt idx="2282">
                  <c:v>12/10/2014 14:01</c:v>
                </c:pt>
                <c:pt idx="2283">
                  <c:v>12/10/2014 14:02</c:v>
                </c:pt>
                <c:pt idx="2284">
                  <c:v>12/10/2014 14:03</c:v>
                </c:pt>
                <c:pt idx="2285">
                  <c:v>12/10/2014 14:04</c:v>
                </c:pt>
                <c:pt idx="2286">
                  <c:v>12/10/2014 14:05</c:v>
                </c:pt>
                <c:pt idx="2287">
                  <c:v>12/10/2014 14:06</c:v>
                </c:pt>
                <c:pt idx="2288">
                  <c:v>12/10/2014 14:07</c:v>
                </c:pt>
                <c:pt idx="2289">
                  <c:v>12/10/2014 14:08</c:v>
                </c:pt>
                <c:pt idx="2290">
                  <c:v>12/10/2014 14:09</c:v>
                </c:pt>
                <c:pt idx="2291">
                  <c:v>12/10/2014 14:10</c:v>
                </c:pt>
                <c:pt idx="2292">
                  <c:v>12/10/2014 14:11</c:v>
                </c:pt>
                <c:pt idx="2293">
                  <c:v>12/10/2014 14:12</c:v>
                </c:pt>
                <c:pt idx="2294">
                  <c:v>12/10/2014 14:13</c:v>
                </c:pt>
                <c:pt idx="2295">
                  <c:v>12/10/2014 14:14</c:v>
                </c:pt>
                <c:pt idx="2296">
                  <c:v>12/10/2014 14:15</c:v>
                </c:pt>
                <c:pt idx="2297">
                  <c:v>12/10/2014 14:16</c:v>
                </c:pt>
                <c:pt idx="2298">
                  <c:v>12/10/2014 14:17</c:v>
                </c:pt>
                <c:pt idx="2299">
                  <c:v>12/10/2014 14:18</c:v>
                </c:pt>
                <c:pt idx="2300">
                  <c:v>12/10/2014 14:19</c:v>
                </c:pt>
                <c:pt idx="2301">
                  <c:v>12/10/2014 14:20</c:v>
                </c:pt>
                <c:pt idx="2302">
                  <c:v>12/10/2014 14:21</c:v>
                </c:pt>
                <c:pt idx="2303">
                  <c:v>12/10/2014 14:22</c:v>
                </c:pt>
                <c:pt idx="2304">
                  <c:v>12/10/2014 14:23</c:v>
                </c:pt>
                <c:pt idx="2305">
                  <c:v>12/10/2014 14:24</c:v>
                </c:pt>
                <c:pt idx="2306">
                  <c:v>12/10/2014 14:25</c:v>
                </c:pt>
                <c:pt idx="2307">
                  <c:v>12/10/2014 14:26</c:v>
                </c:pt>
                <c:pt idx="2308">
                  <c:v>12/10/2014 14:27</c:v>
                </c:pt>
                <c:pt idx="2309">
                  <c:v>12/10/2014 14:28</c:v>
                </c:pt>
                <c:pt idx="2310">
                  <c:v>12/10/2014 14:29</c:v>
                </c:pt>
                <c:pt idx="2311">
                  <c:v>12/10/2014 14:30</c:v>
                </c:pt>
                <c:pt idx="2312">
                  <c:v>12/10/2014 14:31</c:v>
                </c:pt>
                <c:pt idx="2313">
                  <c:v>12/10/2014 14:32</c:v>
                </c:pt>
                <c:pt idx="2314">
                  <c:v>12/10/2014 14:33</c:v>
                </c:pt>
                <c:pt idx="2315">
                  <c:v>12/10/2014 14:34</c:v>
                </c:pt>
                <c:pt idx="2316">
                  <c:v>12/10/2014 14:35</c:v>
                </c:pt>
                <c:pt idx="2317">
                  <c:v>12/10/2014 14:36</c:v>
                </c:pt>
                <c:pt idx="2318">
                  <c:v>12/10/2014 14:37</c:v>
                </c:pt>
                <c:pt idx="2319">
                  <c:v>12/10/2014 14:38</c:v>
                </c:pt>
                <c:pt idx="2320">
                  <c:v>12/10/2014 14:39</c:v>
                </c:pt>
                <c:pt idx="2321">
                  <c:v>12/10/2014 14:40</c:v>
                </c:pt>
                <c:pt idx="2322">
                  <c:v>12/10/2014 14:41</c:v>
                </c:pt>
                <c:pt idx="2323">
                  <c:v>12/10/2014 14:42</c:v>
                </c:pt>
                <c:pt idx="2324">
                  <c:v>12/10/2014 14:43</c:v>
                </c:pt>
                <c:pt idx="2325">
                  <c:v>12/10/2014 14:44</c:v>
                </c:pt>
                <c:pt idx="2326">
                  <c:v>12/10/2014 14:45</c:v>
                </c:pt>
                <c:pt idx="2327">
                  <c:v>12/10/2014 14:46</c:v>
                </c:pt>
                <c:pt idx="2328">
                  <c:v>12/10/2014 14:47</c:v>
                </c:pt>
                <c:pt idx="2329">
                  <c:v>12/10/2014 14:48</c:v>
                </c:pt>
                <c:pt idx="2330">
                  <c:v>12/10/2014 14:49</c:v>
                </c:pt>
                <c:pt idx="2331">
                  <c:v>12/10/2014 14:50</c:v>
                </c:pt>
                <c:pt idx="2332">
                  <c:v>12/10/2014 14:51</c:v>
                </c:pt>
                <c:pt idx="2333">
                  <c:v>12/10/2014 14:52</c:v>
                </c:pt>
                <c:pt idx="2334">
                  <c:v>12/10/2014 14:53</c:v>
                </c:pt>
                <c:pt idx="2335">
                  <c:v>12/10/2014 14:54</c:v>
                </c:pt>
                <c:pt idx="2336">
                  <c:v>12/10/2014 14:55</c:v>
                </c:pt>
                <c:pt idx="2337">
                  <c:v>12/10/2014 14:56</c:v>
                </c:pt>
                <c:pt idx="2338">
                  <c:v>12/10/2014 14:57</c:v>
                </c:pt>
                <c:pt idx="2339">
                  <c:v>12/10/2014 14:58</c:v>
                </c:pt>
                <c:pt idx="2340">
                  <c:v>12/10/2014 14:59</c:v>
                </c:pt>
                <c:pt idx="2341">
                  <c:v>12/10/2014 15:00</c:v>
                </c:pt>
                <c:pt idx="2342">
                  <c:v>12/10/2014 15:01</c:v>
                </c:pt>
                <c:pt idx="2343">
                  <c:v>12/10/2014 15:02</c:v>
                </c:pt>
                <c:pt idx="2344">
                  <c:v>12/10/2014 15:03</c:v>
                </c:pt>
                <c:pt idx="2345">
                  <c:v>12/10/2014 15:04</c:v>
                </c:pt>
                <c:pt idx="2346">
                  <c:v>12/10/2014 15:05</c:v>
                </c:pt>
                <c:pt idx="2347">
                  <c:v>12/10/2014 15:06</c:v>
                </c:pt>
                <c:pt idx="2348">
                  <c:v>12/10/2014 15:07</c:v>
                </c:pt>
                <c:pt idx="2349">
                  <c:v>12/10/2014 15:08</c:v>
                </c:pt>
                <c:pt idx="2350">
                  <c:v>12/10/2014 15:09</c:v>
                </c:pt>
                <c:pt idx="2351">
                  <c:v>12/10/2014 15:10</c:v>
                </c:pt>
                <c:pt idx="2352">
                  <c:v>12/10/2014 15:11</c:v>
                </c:pt>
                <c:pt idx="2353">
                  <c:v>12/10/2014 15:12</c:v>
                </c:pt>
                <c:pt idx="2354">
                  <c:v>12/10/2014 15:13</c:v>
                </c:pt>
                <c:pt idx="2355">
                  <c:v>12/10/2014 15:14</c:v>
                </c:pt>
                <c:pt idx="2356">
                  <c:v>12/10/2014 15:15</c:v>
                </c:pt>
                <c:pt idx="2357">
                  <c:v>12/10/2014 15:16</c:v>
                </c:pt>
                <c:pt idx="2358">
                  <c:v>12/10/2014 15:17</c:v>
                </c:pt>
                <c:pt idx="2359">
                  <c:v>12/10/2014 15:18</c:v>
                </c:pt>
                <c:pt idx="2360">
                  <c:v>12/10/2014 15:19</c:v>
                </c:pt>
                <c:pt idx="2361">
                  <c:v>12/10/2014 15:20</c:v>
                </c:pt>
                <c:pt idx="2362">
                  <c:v>12/10/2014 15:21</c:v>
                </c:pt>
                <c:pt idx="2363">
                  <c:v>12/10/2014 15:22</c:v>
                </c:pt>
                <c:pt idx="2364">
                  <c:v>12/10/2014 15:23</c:v>
                </c:pt>
                <c:pt idx="2365">
                  <c:v>12/10/2014 15:24</c:v>
                </c:pt>
                <c:pt idx="2366">
                  <c:v>12/10/2014 15:25</c:v>
                </c:pt>
                <c:pt idx="2367">
                  <c:v>12/10/2014 15:26</c:v>
                </c:pt>
                <c:pt idx="2368">
                  <c:v>12/10/2014 15:27</c:v>
                </c:pt>
                <c:pt idx="2369">
                  <c:v>12/10/2014 15:28</c:v>
                </c:pt>
                <c:pt idx="2370">
                  <c:v>12/10/2014 15:29</c:v>
                </c:pt>
                <c:pt idx="2371">
                  <c:v>12/10/2014 15:30</c:v>
                </c:pt>
                <c:pt idx="2372">
                  <c:v>12/10/2014 15:31</c:v>
                </c:pt>
                <c:pt idx="2373">
                  <c:v>12/10/2014 15:32</c:v>
                </c:pt>
                <c:pt idx="2374">
                  <c:v>12/10/2014 15:33</c:v>
                </c:pt>
                <c:pt idx="2375">
                  <c:v>12/10/2014 15:34</c:v>
                </c:pt>
                <c:pt idx="2376">
                  <c:v>12/10/2014 15:35</c:v>
                </c:pt>
                <c:pt idx="2377">
                  <c:v>12/10/2014 15:36</c:v>
                </c:pt>
                <c:pt idx="2378">
                  <c:v>12/10/2014 15:37</c:v>
                </c:pt>
                <c:pt idx="2379">
                  <c:v>12/10/2014 15:38</c:v>
                </c:pt>
                <c:pt idx="2380">
                  <c:v>12/10/2014 15:39</c:v>
                </c:pt>
                <c:pt idx="2381">
                  <c:v>12/10/2014 15:40</c:v>
                </c:pt>
                <c:pt idx="2382">
                  <c:v>12/10/2014 15:41</c:v>
                </c:pt>
                <c:pt idx="2383">
                  <c:v>12/10/2014 15:42</c:v>
                </c:pt>
                <c:pt idx="2384">
                  <c:v>12/10/2014 15:43</c:v>
                </c:pt>
                <c:pt idx="2385">
                  <c:v>12/10/2014 15:44</c:v>
                </c:pt>
                <c:pt idx="2386">
                  <c:v>12/10/2014 15:45</c:v>
                </c:pt>
                <c:pt idx="2387">
                  <c:v>12/10/2014 15:46</c:v>
                </c:pt>
                <c:pt idx="2388">
                  <c:v>12/10/2014 15:47</c:v>
                </c:pt>
                <c:pt idx="2389">
                  <c:v>12/10/2014 15:48</c:v>
                </c:pt>
                <c:pt idx="2390">
                  <c:v>12/10/2014 15:49</c:v>
                </c:pt>
                <c:pt idx="2391">
                  <c:v>12/10/2014 15:50</c:v>
                </c:pt>
                <c:pt idx="2392">
                  <c:v>12/10/2014 15:51</c:v>
                </c:pt>
                <c:pt idx="2393">
                  <c:v>12/10/2014 15:52</c:v>
                </c:pt>
                <c:pt idx="2394">
                  <c:v>12/10/2014 15:53</c:v>
                </c:pt>
                <c:pt idx="2395">
                  <c:v>12/10/2014 15:54</c:v>
                </c:pt>
                <c:pt idx="2396">
                  <c:v>12/10/2014 15:55</c:v>
                </c:pt>
                <c:pt idx="2397">
                  <c:v>12/10/2014 15:56</c:v>
                </c:pt>
                <c:pt idx="2398">
                  <c:v>12/10/2014 15:57</c:v>
                </c:pt>
                <c:pt idx="2399">
                  <c:v>12/10/2014 15:58</c:v>
                </c:pt>
                <c:pt idx="2400">
                  <c:v>12/10/2014 15:59</c:v>
                </c:pt>
                <c:pt idx="2401">
                  <c:v>12/10/2014 16:00</c:v>
                </c:pt>
                <c:pt idx="2402">
                  <c:v>12/10/2014 16:01</c:v>
                </c:pt>
                <c:pt idx="2403">
                  <c:v>12/10/2014 16:02</c:v>
                </c:pt>
                <c:pt idx="2404">
                  <c:v>12/10/2014 16:03</c:v>
                </c:pt>
                <c:pt idx="2405">
                  <c:v>12/10/2014 16:04</c:v>
                </c:pt>
                <c:pt idx="2406">
                  <c:v>12/10/2014 16:05</c:v>
                </c:pt>
                <c:pt idx="2407">
                  <c:v>12/10/2014 16:06</c:v>
                </c:pt>
                <c:pt idx="2408">
                  <c:v>12/10/2014 16:07</c:v>
                </c:pt>
                <c:pt idx="2409">
                  <c:v>12/10/2014 16:08</c:v>
                </c:pt>
                <c:pt idx="2410">
                  <c:v>12/10/2014 16:09</c:v>
                </c:pt>
                <c:pt idx="2411">
                  <c:v>12/10/2014 16:10</c:v>
                </c:pt>
                <c:pt idx="2412">
                  <c:v>12/10/2014 16:11</c:v>
                </c:pt>
                <c:pt idx="2413">
                  <c:v>12/10/2014 16:12</c:v>
                </c:pt>
                <c:pt idx="2414">
                  <c:v>12/10/2014 16:13</c:v>
                </c:pt>
                <c:pt idx="2415">
                  <c:v>12/10/2014 16:14</c:v>
                </c:pt>
                <c:pt idx="2416">
                  <c:v>12/10/2014 16:15</c:v>
                </c:pt>
                <c:pt idx="2417">
                  <c:v>12/10/2014 16:16</c:v>
                </c:pt>
                <c:pt idx="2418">
                  <c:v>12/10/2014 16:17</c:v>
                </c:pt>
                <c:pt idx="2419">
                  <c:v>12/10/2014 16:18</c:v>
                </c:pt>
                <c:pt idx="2420">
                  <c:v>12/10/2014 16:19</c:v>
                </c:pt>
                <c:pt idx="2421">
                  <c:v>12/10/2014 16:20</c:v>
                </c:pt>
                <c:pt idx="2422">
                  <c:v>12/10/2014 16:21</c:v>
                </c:pt>
                <c:pt idx="2423">
                  <c:v>12/10/2014 16:22</c:v>
                </c:pt>
                <c:pt idx="2424">
                  <c:v>12/10/2014 16:23</c:v>
                </c:pt>
                <c:pt idx="2425">
                  <c:v>12/10/2014 16:24</c:v>
                </c:pt>
                <c:pt idx="2426">
                  <c:v>12/10/2014 16:25</c:v>
                </c:pt>
                <c:pt idx="2427">
                  <c:v>12/10/2014 16:26</c:v>
                </c:pt>
                <c:pt idx="2428">
                  <c:v>12/10/2014 16:27</c:v>
                </c:pt>
                <c:pt idx="2429">
                  <c:v>12/10/2014 16:28</c:v>
                </c:pt>
                <c:pt idx="2430">
                  <c:v>12/10/2014 16:29</c:v>
                </c:pt>
                <c:pt idx="2431">
                  <c:v>12/10/2014 16:30</c:v>
                </c:pt>
                <c:pt idx="2432">
                  <c:v>12/10/2014 16:31</c:v>
                </c:pt>
                <c:pt idx="2433">
                  <c:v>12/10/2014 16:32</c:v>
                </c:pt>
                <c:pt idx="2434">
                  <c:v>12/10/2014 16:33</c:v>
                </c:pt>
                <c:pt idx="2435">
                  <c:v>12/10/2014 16:34</c:v>
                </c:pt>
                <c:pt idx="2436">
                  <c:v>12/10/2014 16:35</c:v>
                </c:pt>
                <c:pt idx="2437">
                  <c:v>12/10/2014 16:36</c:v>
                </c:pt>
                <c:pt idx="2438">
                  <c:v>12/10/2014 16:37</c:v>
                </c:pt>
                <c:pt idx="2439">
                  <c:v>12/10/2014 16:38</c:v>
                </c:pt>
                <c:pt idx="2440">
                  <c:v>12/10/2014 16:39</c:v>
                </c:pt>
                <c:pt idx="2441">
                  <c:v>12/10/2014 16:40</c:v>
                </c:pt>
                <c:pt idx="2442">
                  <c:v>12/10/2014 16:41</c:v>
                </c:pt>
                <c:pt idx="2443">
                  <c:v>12/10/2014 16:42</c:v>
                </c:pt>
                <c:pt idx="2444">
                  <c:v>12/10/2014 16:43</c:v>
                </c:pt>
                <c:pt idx="2445">
                  <c:v>12/10/2014 16:44</c:v>
                </c:pt>
                <c:pt idx="2446">
                  <c:v>12/10/2014 16:45</c:v>
                </c:pt>
                <c:pt idx="2447">
                  <c:v>12/10/2014 16:46</c:v>
                </c:pt>
                <c:pt idx="2448">
                  <c:v>12/10/2014 16:47</c:v>
                </c:pt>
                <c:pt idx="2449">
                  <c:v>12/10/2014 16:48</c:v>
                </c:pt>
                <c:pt idx="2450">
                  <c:v>12/10/2014 16:49</c:v>
                </c:pt>
                <c:pt idx="2451">
                  <c:v>12/10/2014 16:50</c:v>
                </c:pt>
                <c:pt idx="2452">
                  <c:v>12/10/2014 16:51</c:v>
                </c:pt>
              </c:strCache>
            </c:strRef>
          </c:cat>
          <c:val>
            <c:numRef>
              <c:f>'[1679498136_Statistics_Case_Study_Student_Reference_22032023.xlsx]DRT Rolling Stdev'!$I$2:$I$2454</c:f>
              <c:numCache>
                <c:formatCode>#,##0.00</c:formatCode>
                <c:ptCount val="2453"/>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5-606E-47FF-A81B-8D4EB62255C2}"/>
            </c:ext>
          </c:extLst>
        </c:ser>
        <c:dLbls>
          <c:showLegendKey val="0"/>
          <c:showVal val="0"/>
          <c:showCatName val="0"/>
          <c:showSerName val="0"/>
          <c:showPercent val="0"/>
          <c:showBubbleSize val="0"/>
        </c:dLbls>
        <c:marker val="1"/>
        <c:smooth val="0"/>
        <c:axId val="1210250319"/>
        <c:axId val="785689168"/>
      </c:lineChart>
      <c:lineChart>
        <c:grouping val="standard"/>
        <c:varyColors val="0"/>
        <c:ser>
          <c:idx val="5"/>
          <c:order val="5"/>
          <c:tx>
            <c:strRef>
              <c:f>'[1679498136_Statistics_Case_Study_Student_Reference_22032023.xlsx]DRT Rolling Stdev'!$H$1</c:f>
              <c:strCache>
                <c:ptCount val="1"/>
                <c:pt idx="0">
                  <c:v>Horse Power</c:v>
                </c:pt>
              </c:strCache>
            </c:strRef>
          </c:tx>
          <c:spPr>
            <a:ln w="28575" cap="rnd">
              <a:solidFill>
                <a:schemeClr val="accent6"/>
              </a:solidFill>
              <a:round/>
            </a:ln>
            <a:effectLst/>
          </c:spPr>
          <c:marker>
            <c:symbol val="none"/>
          </c:marker>
          <c:val>
            <c:numRef>
              <c:f>'[1679498136_Statistics_Case_Study_Student_Reference_22032023.xlsx]DRT Rolling Stdev'!$H$2:$H$2454</c:f>
              <c:numCache>
                <c:formatCode>#,##0.00</c:formatCode>
                <c:ptCount val="2453"/>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606E-47FF-A81B-8D4EB62255C2}"/>
            </c:ext>
          </c:extLst>
        </c:ser>
        <c:ser>
          <c:idx val="7"/>
          <c:order val="7"/>
          <c:tx>
            <c:strRef>
              <c:f>'[1679498136_Statistics_Case_Study_Student_Reference_22032023.xlsx]DRT Rolling Stdev'!$J$1</c:f>
              <c:strCache>
                <c:ptCount val="1"/>
                <c:pt idx="0">
                  <c:v>PUMP FAILURE (1 or 0)</c:v>
                </c:pt>
              </c:strCache>
            </c:strRef>
          </c:tx>
          <c:spPr>
            <a:ln w="28575" cap="rnd">
              <a:solidFill>
                <a:schemeClr val="accent2">
                  <a:lumMod val="60000"/>
                </a:schemeClr>
              </a:solidFill>
              <a:round/>
            </a:ln>
            <a:effectLst/>
          </c:spPr>
          <c:marker>
            <c:symbol val="none"/>
          </c:marker>
          <c:val>
            <c:numRef>
              <c:f>'[1679498136_Statistics_Case_Study_Student_Reference_22032023.xlsx]DRT Rolling Stdev'!$J$2:$J$2454</c:f>
              <c:numCache>
                <c:formatCode>General</c:formatCode>
                <c:ptCount val="24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606E-47FF-A81B-8D4EB62255C2}"/>
            </c:ext>
          </c:extLst>
        </c:ser>
        <c:dLbls>
          <c:showLegendKey val="0"/>
          <c:showVal val="0"/>
          <c:showCatName val="0"/>
          <c:showSerName val="0"/>
          <c:showPercent val="0"/>
          <c:showBubbleSize val="0"/>
        </c:dLbls>
        <c:marker val="1"/>
        <c:smooth val="0"/>
        <c:axId val="1491975711"/>
        <c:axId val="1491971391"/>
      </c:lineChart>
      <c:catAx>
        <c:axId val="12102503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5689168"/>
        <c:crosses val="autoZero"/>
        <c:auto val="1"/>
        <c:lblAlgn val="ctr"/>
        <c:lblOffset val="100"/>
        <c:noMultiLvlLbl val="0"/>
      </c:catAx>
      <c:valAx>
        <c:axId val="785689168"/>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10250319"/>
        <c:crosses val="autoZero"/>
        <c:crossBetween val="between"/>
      </c:valAx>
      <c:valAx>
        <c:axId val="1491971391"/>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91975711"/>
        <c:crosses val="max"/>
        <c:crossBetween val="between"/>
      </c:valAx>
      <c:catAx>
        <c:axId val="1491975711"/>
        <c:scaling>
          <c:orientation val="minMax"/>
        </c:scaling>
        <c:delete val="1"/>
        <c:axPos val="b"/>
        <c:majorTickMark val="out"/>
        <c:minorTickMark val="none"/>
        <c:tickLblPos val="nextTo"/>
        <c:crossAx val="149197139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a:t>
            </a:r>
            <a:r>
              <a:rPr lang="en-US" baseline="0"/>
              <a:t> Coefficient Pump Failure (Raw)</a:t>
            </a:r>
            <a:endParaRPr lang="en-US"/>
          </a:p>
        </c:rich>
      </c:tx>
      <c:layout>
        <c:manualLayout>
          <c:xMode val="edge"/>
          <c:yMode val="edge"/>
          <c:x val="0.13421522309711287"/>
          <c:y val="9.25926263461017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1679498136_Statistics_Case_Study_Student_Reference_22032023.xlsx]Inferential Statistics'!$A$38:$A$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1679498136_Statistics_Case_Study_Student_Reference_22032023.xlsx]Inferential Statistics'!$B$38:$B$44</c:f>
              <c:numCache>
                <c:formatCode>General</c:formatCode>
                <c:ptCount val="7"/>
                <c:pt idx="0">
                  <c:v>0.42183658455829925</c:v>
                </c:pt>
                <c:pt idx="1">
                  <c:v>0.26001285258420193</c:v>
                </c:pt>
                <c:pt idx="2">
                  <c:v>0.23317535657717167</c:v>
                </c:pt>
                <c:pt idx="3">
                  <c:v>0.20801103648864624</c:v>
                </c:pt>
                <c:pt idx="4">
                  <c:v>-0.10248792792254234</c:v>
                </c:pt>
                <c:pt idx="5">
                  <c:v>-0.10268235109678094</c:v>
                </c:pt>
                <c:pt idx="6">
                  <c:v>-0.11211257847446812</c:v>
                </c:pt>
              </c:numCache>
            </c:numRef>
          </c:val>
          <c:extLst>
            <c:ext xmlns:c16="http://schemas.microsoft.com/office/drawing/2014/chart" uri="{C3380CC4-5D6E-409C-BE32-E72D297353CC}">
              <c16:uniqueId val="{00000000-8B43-421F-AA1C-B4D7814E6200}"/>
            </c:ext>
          </c:extLst>
        </c:ser>
        <c:dLbls>
          <c:showLegendKey val="0"/>
          <c:showVal val="0"/>
          <c:showCatName val="0"/>
          <c:showSerName val="0"/>
          <c:showPercent val="0"/>
          <c:showBubbleSize val="0"/>
        </c:dLbls>
        <c:gapWidth val="219"/>
        <c:overlap val="-27"/>
        <c:axId val="1972333808"/>
        <c:axId val="1982345872"/>
      </c:barChart>
      <c:catAx>
        <c:axId val="19723338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982345872"/>
        <c:crosses val="autoZero"/>
        <c:auto val="1"/>
        <c:lblAlgn val="ctr"/>
        <c:lblOffset val="100"/>
        <c:noMultiLvlLbl val="0"/>
      </c:catAx>
      <c:valAx>
        <c:axId val="1982345872"/>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Correlation</a:t>
                </a:r>
                <a:r>
                  <a:rPr lang="en-US" baseline="0" dirty="0"/>
                  <a:t> Strength</a:t>
                </a:r>
                <a:endParaRPr lang="en-US"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723338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a:t>
            </a:r>
            <a:r>
              <a:rPr lang="en-US" baseline="0"/>
              <a:t> Coefficient Pump Failure (Rolling Mean)</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1679498136_Statistics_Case_Study_Student_Reference_22032023.xlsx]Inferential Statistics'!$A$38:$A$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1679498136_Statistics_Case_Study_Student_Reference_22032023.xlsx]Inferential Statistics'!$N$38:$N$44</c:f>
              <c:numCache>
                <c:formatCode>General</c:formatCode>
                <c:ptCount val="7"/>
                <c:pt idx="0">
                  <c:v>0.2180319818536855</c:v>
                </c:pt>
                <c:pt idx="1">
                  <c:v>-0.18417032717917944</c:v>
                </c:pt>
                <c:pt idx="2">
                  <c:v>-0.21602721504457051</c:v>
                </c:pt>
                <c:pt idx="3">
                  <c:v>-0.30265189651678887</c:v>
                </c:pt>
                <c:pt idx="4">
                  <c:v>-0.69244309318419739</c:v>
                </c:pt>
                <c:pt idx="5">
                  <c:v>-0.69502775093101643</c:v>
                </c:pt>
                <c:pt idx="6">
                  <c:v>-0.69773116823026105</c:v>
                </c:pt>
              </c:numCache>
            </c:numRef>
          </c:val>
          <c:extLst>
            <c:ext xmlns:c16="http://schemas.microsoft.com/office/drawing/2014/chart" uri="{C3380CC4-5D6E-409C-BE32-E72D297353CC}">
              <c16:uniqueId val="{00000000-2F04-4964-85E7-C01DF5AC1DCE}"/>
            </c:ext>
          </c:extLst>
        </c:ser>
        <c:dLbls>
          <c:showLegendKey val="0"/>
          <c:showVal val="0"/>
          <c:showCatName val="0"/>
          <c:showSerName val="0"/>
          <c:showPercent val="0"/>
          <c:showBubbleSize val="0"/>
        </c:dLbls>
        <c:gapWidth val="219"/>
        <c:overlap val="-27"/>
        <c:axId val="1972333808"/>
        <c:axId val="1982345872"/>
      </c:barChart>
      <c:catAx>
        <c:axId val="19723338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982345872"/>
        <c:crosses val="autoZero"/>
        <c:auto val="1"/>
        <c:lblAlgn val="ctr"/>
        <c:lblOffset val="100"/>
        <c:noMultiLvlLbl val="0"/>
      </c:catAx>
      <c:valAx>
        <c:axId val="1982345872"/>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0" i="0" u="none" strike="noStrike" kern="1200" baseline="0" dirty="0">
                    <a:solidFill>
                      <a:prstClr val="black">
                        <a:lumMod val="65000"/>
                        <a:lumOff val="35000"/>
                      </a:prstClr>
                    </a:solidFill>
                  </a:rPr>
                  <a:t>Correlation Strengt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723338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 Coefficient</a:t>
            </a:r>
            <a:r>
              <a:rPr lang="en-US" baseline="0"/>
              <a:t> Pump Failure (Rolling Stdev)</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9997594050743651E-2"/>
          <c:y val="0.25083333333333335"/>
          <c:w val="0.88389129483814521"/>
          <c:h val="0.60515383493729946"/>
        </c:manualLayout>
      </c:layout>
      <c:barChart>
        <c:barDir val="col"/>
        <c:grouping val="clustered"/>
        <c:varyColors val="0"/>
        <c:ser>
          <c:idx val="0"/>
          <c:order val="0"/>
          <c:spPr>
            <a:solidFill>
              <a:schemeClr val="accent1"/>
            </a:solidFill>
            <a:ln>
              <a:noFill/>
            </a:ln>
            <a:effectLst/>
          </c:spPr>
          <c:invertIfNegative val="0"/>
          <c:cat>
            <c:strRef>
              <c:f>'[1679498136_Statistics_Case_Study_Student_Reference_22032023.xlsx]Inferential Statistics'!$W$38:$W$44</c:f>
              <c:strCache>
                <c:ptCount val="7"/>
                <c:pt idx="0">
                  <c:v>Horse Power</c:v>
                </c:pt>
                <c:pt idx="1">
                  <c:v>Pump Efficiency</c:v>
                </c:pt>
                <c:pt idx="2">
                  <c:v>Volumetric Flow Meter 1</c:v>
                </c:pt>
                <c:pt idx="3">
                  <c:v>Volumetric Flow Meter 2</c:v>
                </c:pt>
                <c:pt idx="4">
                  <c:v>Pump Speed (RPM)</c:v>
                </c:pt>
                <c:pt idx="5">
                  <c:v>Ambient Temperature</c:v>
                </c:pt>
                <c:pt idx="6">
                  <c:v>Pump Torque </c:v>
                </c:pt>
              </c:strCache>
            </c:strRef>
          </c:cat>
          <c:val>
            <c:numRef>
              <c:f>'[1679498136_Statistics_Case_Study_Student_Reference_22032023.xlsx]Inferential Statistics'!$X$38:$X$44</c:f>
              <c:numCache>
                <c:formatCode>General</c:formatCode>
                <c:ptCount val="7"/>
                <c:pt idx="0">
                  <c:v>0.69010189460739213</c:v>
                </c:pt>
                <c:pt idx="1">
                  <c:v>0.69010189460739213</c:v>
                </c:pt>
                <c:pt idx="2">
                  <c:v>0.6448804160271028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655F-4B2D-83B7-72BB89E3D83D}"/>
            </c:ext>
          </c:extLst>
        </c:ser>
        <c:dLbls>
          <c:showLegendKey val="0"/>
          <c:showVal val="0"/>
          <c:showCatName val="0"/>
          <c:showSerName val="0"/>
          <c:showPercent val="0"/>
          <c:showBubbleSize val="0"/>
        </c:dLbls>
        <c:gapWidth val="219"/>
        <c:overlap val="-27"/>
        <c:axId val="163993152"/>
        <c:axId val="1972329008"/>
      </c:barChart>
      <c:catAx>
        <c:axId val="163993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72329008"/>
        <c:crosses val="autoZero"/>
        <c:auto val="1"/>
        <c:lblAlgn val="ctr"/>
        <c:lblOffset val="100"/>
        <c:noMultiLvlLbl val="0"/>
      </c:catAx>
      <c:valAx>
        <c:axId val="197232900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3993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efficient Ranking</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1679498136_Statistics_Case_Study_Student_Reference_22032023.xlsx]Inferential Statistics'!$N$157:$N$163</c:f>
              <c:strCache>
                <c:ptCount val="7"/>
                <c:pt idx="0">
                  <c:v>Horse Power</c:v>
                </c:pt>
                <c:pt idx="1">
                  <c:v>Pump Efficiency</c:v>
                </c:pt>
                <c:pt idx="2">
                  <c:v>Volumetric Flow Meter 1</c:v>
                </c:pt>
                <c:pt idx="3">
                  <c:v>Ambient Temperature</c:v>
                </c:pt>
                <c:pt idx="4">
                  <c:v>Pump Speed (RPM)</c:v>
                </c:pt>
                <c:pt idx="5">
                  <c:v>Pump Torque </c:v>
                </c:pt>
                <c:pt idx="6">
                  <c:v>Volumetric Flow Meter 2</c:v>
                </c:pt>
              </c:strCache>
            </c:strRef>
          </c:cat>
          <c:val>
            <c:numRef>
              <c:f>'[1679498136_Statistics_Case_Study_Student_Reference_22032023.xlsx]Inferential Statistics'!$O$157:$O$163</c:f>
              <c:numCache>
                <c:formatCode>General</c:formatCode>
                <c:ptCount val="7"/>
                <c:pt idx="0">
                  <c:v>0.76484538773206445</c:v>
                </c:pt>
                <c:pt idx="1">
                  <c:v>0.34236588972424131</c:v>
                </c:pt>
                <c:pt idx="2">
                  <c:v>5.0933943927024217E-2</c:v>
                </c:pt>
                <c:pt idx="3">
                  <c:v>1.8206887296729E-2</c:v>
                </c:pt>
                <c:pt idx="4">
                  <c:v>-1.7867336051636543E-2</c:v>
                </c:pt>
                <c:pt idx="5">
                  <c:v>-1.8901994708885334E-2</c:v>
                </c:pt>
                <c:pt idx="6">
                  <c:v>-0.61136432959094578</c:v>
                </c:pt>
              </c:numCache>
            </c:numRef>
          </c:val>
          <c:extLst>
            <c:ext xmlns:c16="http://schemas.microsoft.com/office/drawing/2014/chart" uri="{C3380CC4-5D6E-409C-BE32-E72D297353CC}">
              <c16:uniqueId val="{00000000-7EEC-42F8-9473-9D5555D45779}"/>
            </c:ext>
          </c:extLst>
        </c:ser>
        <c:dLbls>
          <c:showLegendKey val="0"/>
          <c:showVal val="0"/>
          <c:showCatName val="0"/>
          <c:showSerName val="0"/>
          <c:showPercent val="0"/>
          <c:showBubbleSize val="0"/>
        </c:dLbls>
        <c:gapWidth val="219"/>
        <c:overlap val="-27"/>
        <c:axId val="306460272"/>
        <c:axId val="306457392"/>
      </c:barChart>
      <c:catAx>
        <c:axId val="3064602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06457392"/>
        <c:crosses val="autoZero"/>
        <c:auto val="1"/>
        <c:lblAlgn val="ctr"/>
        <c:lblOffset val="100"/>
        <c:noMultiLvlLbl val="0"/>
      </c:catAx>
      <c:valAx>
        <c:axId val="306457392"/>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egression Correlation</a:t>
                </a:r>
                <a:r>
                  <a:rPr lang="en-US" baseline="0"/>
                  <a:t> Coefficient</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0646027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31/07/2024</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7F7AF-5704-F202-9131-40E6626D91C6}"/>
              </a:ext>
            </a:extLst>
          </p:cNvPr>
          <p:cNvSpPr>
            <a:spLocks noGrp="1"/>
          </p:cNvSpPr>
          <p:nvPr>
            <p:ph type="ctrTitle"/>
          </p:nvPr>
        </p:nvSpPr>
        <p:spPr>
          <a:xfrm>
            <a:off x="1120180" y="1100020"/>
            <a:ext cx="6721079" cy="2340069"/>
          </a:xfrm>
        </p:spPr>
        <p:txBody>
          <a:bodyPr anchor="b"/>
          <a:lstStyle>
            <a:lvl1pPr algn="ctr">
              <a:defRPr sz="4410"/>
            </a:lvl1pPr>
          </a:lstStyle>
          <a:p>
            <a:r>
              <a:rPr lang="en-US"/>
              <a:t>Click to edit Master title style</a:t>
            </a:r>
          </a:p>
        </p:txBody>
      </p:sp>
      <p:sp>
        <p:nvSpPr>
          <p:cNvPr id="3" name="Subtitle 2">
            <a:extLst>
              <a:ext uri="{FF2B5EF4-FFF2-40B4-BE49-F238E27FC236}">
                <a16:creationId xmlns:a16="http://schemas.microsoft.com/office/drawing/2014/main" id="{EEE22073-D475-8FBD-C753-E4DC9F37E387}"/>
              </a:ext>
            </a:extLst>
          </p:cNvPr>
          <p:cNvSpPr>
            <a:spLocks noGrp="1"/>
          </p:cNvSpPr>
          <p:nvPr>
            <p:ph type="subTitle" idx="1"/>
          </p:nvPr>
        </p:nvSpPr>
        <p:spPr>
          <a:xfrm>
            <a:off x="1120180" y="3530331"/>
            <a:ext cx="6721079" cy="1622800"/>
          </a:xfrm>
        </p:spPr>
        <p:txBody>
          <a:bodyPr/>
          <a:lstStyle>
            <a:lvl1pPr marL="0" indent="0" algn="ctr">
              <a:buNone/>
              <a:defRPr sz="1764"/>
            </a:lvl1pPr>
            <a:lvl2pPr marL="336042" indent="0" algn="ctr">
              <a:buNone/>
              <a:defRPr sz="1470"/>
            </a:lvl2pPr>
            <a:lvl3pPr marL="672084" indent="0" algn="ctr">
              <a:buNone/>
              <a:defRPr sz="1323"/>
            </a:lvl3pPr>
            <a:lvl4pPr marL="1008126" indent="0" algn="ctr">
              <a:buNone/>
              <a:defRPr sz="1176"/>
            </a:lvl4pPr>
            <a:lvl5pPr marL="1344168" indent="0" algn="ctr">
              <a:buNone/>
              <a:defRPr sz="1176"/>
            </a:lvl5pPr>
            <a:lvl6pPr marL="1680210" indent="0" algn="ctr">
              <a:buNone/>
              <a:defRPr sz="1176"/>
            </a:lvl6pPr>
            <a:lvl7pPr marL="2016252" indent="0" algn="ctr">
              <a:buNone/>
              <a:defRPr sz="1176"/>
            </a:lvl7pPr>
            <a:lvl8pPr marL="2352294" indent="0" algn="ctr">
              <a:buNone/>
              <a:defRPr sz="1176"/>
            </a:lvl8pPr>
            <a:lvl9pPr marL="2688336" indent="0" algn="ctr">
              <a:buNone/>
              <a:defRPr sz="1176"/>
            </a:lvl9pPr>
          </a:lstStyle>
          <a:p>
            <a:r>
              <a:rPr lang="en-US"/>
              <a:t>Click to edit Master subtitle style</a:t>
            </a:r>
          </a:p>
        </p:txBody>
      </p:sp>
      <p:sp>
        <p:nvSpPr>
          <p:cNvPr id="4" name="Date Placeholder 3">
            <a:extLst>
              <a:ext uri="{FF2B5EF4-FFF2-40B4-BE49-F238E27FC236}">
                <a16:creationId xmlns:a16="http://schemas.microsoft.com/office/drawing/2014/main" id="{1B559E04-8223-2179-98A1-C5961DD33171}"/>
              </a:ext>
            </a:extLst>
          </p:cNvPr>
          <p:cNvSpPr>
            <a:spLocks noGrp="1"/>
          </p:cNvSpPr>
          <p:nvPr>
            <p:ph type="dt" sz="half" idx="10"/>
          </p:nvPr>
        </p:nvSpPr>
        <p:spPr/>
        <p:txBody>
          <a:bodyPr/>
          <a:lstStyle/>
          <a:p>
            <a:fld id="{82906654-90D9-461B-B7EF-41DAC4EA1F1E}" type="datetimeFigureOut">
              <a:rPr lang="en-US" smtClean="0"/>
              <a:t>7/31/2024</a:t>
            </a:fld>
            <a:endParaRPr lang="en-US"/>
          </a:p>
        </p:txBody>
      </p:sp>
      <p:sp>
        <p:nvSpPr>
          <p:cNvPr id="5" name="Footer Placeholder 4">
            <a:extLst>
              <a:ext uri="{FF2B5EF4-FFF2-40B4-BE49-F238E27FC236}">
                <a16:creationId xmlns:a16="http://schemas.microsoft.com/office/drawing/2014/main" id="{AB6BEAF0-AF29-8FE2-98E8-3147408864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BDB10D-2390-74C9-2F26-99C53113952C}"/>
              </a:ext>
            </a:extLst>
          </p:cNvPr>
          <p:cNvSpPr>
            <a:spLocks noGrp="1"/>
          </p:cNvSpPr>
          <p:nvPr>
            <p:ph type="sldNum" sz="quarter" idx="12"/>
          </p:nvPr>
        </p:nvSpPr>
        <p:spPr/>
        <p:txBody>
          <a:bodyPr/>
          <a:lstStyle/>
          <a:p>
            <a:fld id="{8FF6B6B2-7CFD-43FF-8870-CC4E5E6F05B6}" type="slidenum">
              <a:rPr lang="en-US" smtClean="0"/>
              <a:t>‹#›</a:t>
            </a:fld>
            <a:endParaRPr lang="en-US"/>
          </a:p>
        </p:txBody>
      </p:sp>
      <p:graphicFrame>
        <p:nvGraphicFramePr>
          <p:cNvPr id="7" name="Object 6" hidden="1">
            <a:extLst>
              <a:ext uri="{FF2B5EF4-FFF2-40B4-BE49-F238E27FC236}">
                <a16:creationId xmlns:a16="http://schemas.microsoft.com/office/drawing/2014/main" id="{08CE5F92-B32A-DB4A-5C2A-A2B7540786AE}"/>
              </a:ext>
            </a:extLst>
          </p:cNvPr>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08CE5F92-B32A-DB4A-5C2A-A2B7540786A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oc id">
            <a:extLst>
              <a:ext uri="{FF2B5EF4-FFF2-40B4-BE49-F238E27FC236}">
                <a16:creationId xmlns:a16="http://schemas.microsoft.com/office/drawing/2014/main" id="{AD1EAE25-0E52-0CF4-810C-DFC7B2D8F430}"/>
              </a:ext>
            </a:extLst>
          </p:cNvPr>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9" name="Rectangle 8">
            <a:extLst>
              <a:ext uri="{FF2B5EF4-FFF2-40B4-BE49-F238E27FC236}">
                <a16:creationId xmlns:a16="http://schemas.microsoft.com/office/drawing/2014/main" id="{D16996C7-A8CC-0284-DAD4-60E3783D233A}"/>
              </a:ext>
            </a:extLst>
          </p:cNvPr>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0" name="Rectangle 9">
            <a:extLst>
              <a:ext uri="{FF2B5EF4-FFF2-40B4-BE49-F238E27FC236}">
                <a16:creationId xmlns:a16="http://schemas.microsoft.com/office/drawing/2014/main" id="{8384BE7D-C66A-CA32-1840-0F21D1D78466}"/>
              </a:ext>
            </a:extLst>
          </p:cNvPr>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5284206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1978A-0E6C-33C8-E3CB-CABD99921B8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80E9CF9-56A8-ABC9-6D4F-F94F2A2DB71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E5C876-180B-E56F-5189-F2BAED616118}"/>
              </a:ext>
            </a:extLst>
          </p:cNvPr>
          <p:cNvSpPr>
            <a:spLocks noGrp="1"/>
          </p:cNvSpPr>
          <p:nvPr>
            <p:ph type="dt" sz="half" idx="10"/>
          </p:nvPr>
        </p:nvSpPr>
        <p:spPr/>
        <p:txBody>
          <a:bodyPr/>
          <a:lstStyle/>
          <a:p>
            <a:fld id="{82906654-90D9-461B-B7EF-41DAC4EA1F1E}" type="datetimeFigureOut">
              <a:rPr lang="en-US" smtClean="0"/>
              <a:t>7/31/2024</a:t>
            </a:fld>
            <a:endParaRPr lang="en-US"/>
          </a:p>
        </p:txBody>
      </p:sp>
      <p:sp>
        <p:nvSpPr>
          <p:cNvPr id="5" name="Footer Placeholder 4">
            <a:extLst>
              <a:ext uri="{FF2B5EF4-FFF2-40B4-BE49-F238E27FC236}">
                <a16:creationId xmlns:a16="http://schemas.microsoft.com/office/drawing/2014/main" id="{4EA84603-2950-DA78-3975-82BA505D6E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91EC9F-0341-B073-13E3-6A15FD3194FF}"/>
              </a:ext>
            </a:extLst>
          </p:cNvPr>
          <p:cNvSpPr>
            <a:spLocks noGrp="1"/>
          </p:cNvSpPr>
          <p:nvPr>
            <p:ph type="sldNum" sz="quarter" idx="12"/>
          </p:nvPr>
        </p:nvSpPr>
        <p:spPr/>
        <p:txBody>
          <a:bodyPr/>
          <a:lstStyle/>
          <a:p>
            <a:fld id="{8FF6B6B2-7CFD-43FF-8870-CC4E5E6F05B6}" type="slidenum">
              <a:rPr lang="en-US" smtClean="0"/>
              <a:t>‹#›</a:t>
            </a:fld>
            <a:endParaRPr lang="en-US"/>
          </a:p>
        </p:txBody>
      </p:sp>
    </p:spTree>
    <p:extLst>
      <p:ext uri="{BB962C8B-B14F-4D97-AF65-F5344CB8AC3E}">
        <p14:creationId xmlns:p14="http://schemas.microsoft.com/office/powerpoint/2010/main" val="3191764084"/>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E06EA79-302C-2E4D-B836-D3A52300CBD0}"/>
              </a:ext>
            </a:extLst>
          </p:cNvPr>
          <p:cNvSpPr>
            <a:spLocks noGrp="1"/>
          </p:cNvSpPr>
          <p:nvPr>
            <p:ph type="title" orient="vert"/>
          </p:nvPr>
        </p:nvSpPr>
        <p:spPr>
          <a:xfrm>
            <a:off x="6413029" y="357856"/>
            <a:ext cx="1932310" cy="56961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DB7C660-F0F2-7A08-5406-0E8028B4C8FF}"/>
              </a:ext>
            </a:extLst>
          </p:cNvPr>
          <p:cNvSpPr>
            <a:spLocks noGrp="1"/>
          </p:cNvSpPr>
          <p:nvPr>
            <p:ph type="body" orient="vert" idx="1"/>
          </p:nvPr>
        </p:nvSpPr>
        <p:spPr>
          <a:xfrm>
            <a:off x="616099" y="357856"/>
            <a:ext cx="5684912" cy="56961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73B012-82F8-23D6-8D7C-7204BF96A011}"/>
              </a:ext>
            </a:extLst>
          </p:cNvPr>
          <p:cNvSpPr>
            <a:spLocks noGrp="1"/>
          </p:cNvSpPr>
          <p:nvPr>
            <p:ph type="dt" sz="half" idx="10"/>
          </p:nvPr>
        </p:nvSpPr>
        <p:spPr/>
        <p:txBody>
          <a:bodyPr/>
          <a:lstStyle/>
          <a:p>
            <a:fld id="{82906654-90D9-461B-B7EF-41DAC4EA1F1E}" type="datetimeFigureOut">
              <a:rPr lang="en-US" smtClean="0"/>
              <a:t>7/31/2024</a:t>
            </a:fld>
            <a:endParaRPr lang="en-US"/>
          </a:p>
        </p:txBody>
      </p:sp>
      <p:sp>
        <p:nvSpPr>
          <p:cNvPr id="5" name="Footer Placeholder 4">
            <a:extLst>
              <a:ext uri="{FF2B5EF4-FFF2-40B4-BE49-F238E27FC236}">
                <a16:creationId xmlns:a16="http://schemas.microsoft.com/office/drawing/2014/main" id="{AC8B33B6-27AE-87A3-5BB4-34DC859D52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E5182B-5FA1-A8A1-2A4F-0FC0821C0DA1}"/>
              </a:ext>
            </a:extLst>
          </p:cNvPr>
          <p:cNvSpPr>
            <a:spLocks noGrp="1"/>
          </p:cNvSpPr>
          <p:nvPr>
            <p:ph type="sldNum" sz="quarter" idx="12"/>
          </p:nvPr>
        </p:nvSpPr>
        <p:spPr/>
        <p:txBody>
          <a:bodyPr/>
          <a:lstStyle/>
          <a:p>
            <a:fld id="{8FF6B6B2-7CFD-43FF-8870-CC4E5E6F05B6}" type="slidenum">
              <a:rPr lang="en-US" smtClean="0"/>
              <a:t>‹#›</a:t>
            </a:fld>
            <a:endParaRPr lang="en-US"/>
          </a:p>
        </p:txBody>
      </p:sp>
    </p:spTree>
    <p:extLst>
      <p:ext uri="{BB962C8B-B14F-4D97-AF65-F5344CB8AC3E}">
        <p14:creationId xmlns:p14="http://schemas.microsoft.com/office/powerpoint/2010/main" val="41911249"/>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60850-12DE-6B27-BFD1-7FEF95C7D0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95FF239-1559-FAB9-13A0-FC71448A48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CC5C3D-EF61-B44C-DF8B-6254DF2830CE}"/>
              </a:ext>
            </a:extLst>
          </p:cNvPr>
          <p:cNvSpPr>
            <a:spLocks noGrp="1"/>
          </p:cNvSpPr>
          <p:nvPr>
            <p:ph type="dt" sz="half" idx="10"/>
          </p:nvPr>
        </p:nvSpPr>
        <p:spPr/>
        <p:txBody>
          <a:bodyPr/>
          <a:lstStyle/>
          <a:p>
            <a:fld id="{82906654-90D9-461B-B7EF-41DAC4EA1F1E}" type="datetimeFigureOut">
              <a:rPr lang="en-US" smtClean="0"/>
              <a:t>7/31/2024</a:t>
            </a:fld>
            <a:endParaRPr lang="en-US"/>
          </a:p>
        </p:txBody>
      </p:sp>
      <p:sp>
        <p:nvSpPr>
          <p:cNvPr id="5" name="Footer Placeholder 4">
            <a:extLst>
              <a:ext uri="{FF2B5EF4-FFF2-40B4-BE49-F238E27FC236}">
                <a16:creationId xmlns:a16="http://schemas.microsoft.com/office/drawing/2014/main" id="{4A8E91E3-3787-9D19-FE7A-45CD48A984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D8E5A6-56E7-8722-BD23-45484E517657}"/>
              </a:ext>
            </a:extLst>
          </p:cNvPr>
          <p:cNvSpPr>
            <a:spLocks noGrp="1"/>
          </p:cNvSpPr>
          <p:nvPr>
            <p:ph type="sldNum" sz="quarter" idx="12"/>
          </p:nvPr>
        </p:nvSpPr>
        <p:spPr/>
        <p:txBody>
          <a:bodyPr/>
          <a:lstStyle/>
          <a:p>
            <a:fld id="{8FF6B6B2-7CFD-43FF-8870-CC4E5E6F05B6}" type="slidenum">
              <a:rPr lang="en-US" smtClean="0"/>
              <a:t>‹#›</a:t>
            </a:fld>
            <a:endParaRPr lang="en-US"/>
          </a:p>
        </p:txBody>
      </p:sp>
    </p:spTree>
    <p:extLst>
      <p:ext uri="{BB962C8B-B14F-4D97-AF65-F5344CB8AC3E}">
        <p14:creationId xmlns:p14="http://schemas.microsoft.com/office/powerpoint/2010/main" val="2024027540"/>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3D061-C880-4255-0D15-648767D3191E}"/>
              </a:ext>
            </a:extLst>
          </p:cNvPr>
          <p:cNvSpPr>
            <a:spLocks noGrp="1"/>
          </p:cNvSpPr>
          <p:nvPr>
            <p:ph type="title"/>
          </p:nvPr>
        </p:nvSpPr>
        <p:spPr>
          <a:xfrm>
            <a:off x="611432" y="1675702"/>
            <a:ext cx="7729240" cy="2795946"/>
          </a:xfrm>
        </p:spPr>
        <p:txBody>
          <a:bodyPr anchor="b"/>
          <a:lstStyle>
            <a:lvl1pPr>
              <a:defRPr sz="4410"/>
            </a:lvl1pPr>
          </a:lstStyle>
          <a:p>
            <a:r>
              <a:rPr lang="en-US"/>
              <a:t>Click to edit Master title style</a:t>
            </a:r>
          </a:p>
        </p:txBody>
      </p:sp>
      <p:sp>
        <p:nvSpPr>
          <p:cNvPr id="3" name="Text Placeholder 2">
            <a:extLst>
              <a:ext uri="{FF2B5EF4-FFF2-40B4-BE49-F238E27FC236}">
                <a16:creationId xmlns:a16="http://schemas.microsoft.com/office/drawing/2014/main" id="{C7CADBC8-5EE0-419C-848C-BE2DCFBB9FE8}"/>
              </a:ext>
            </a:extLst>
          </p:cNvPr>
          <p:cNvSpPr>
            <a:spLocks noGrp="1"/>
          </p:cNvSpPr>
          <p:nvPr>
            <p:ph type="body" idx="1"/>
          </p:nvPr>
        </p:nvSpPr>
        <p:spPr>
          <a:xfrm>
            <a:off x="611432" y="4498099"/>
            <a:ext cx="7729240" cy="1470322"/>
          </a:xfrm>
        </p:spPr>
        <p:txBody>
          <a:bodyPr/>
          <a:lstStyle>
            <a:lvl1pPr marL="0" indent="0">
              <a:buNone/>
              <a:defRPr sz="1764">
                <a:solidFill>
                  <a:schemeClr val="tx1">
                    <a:tint val="82000"/>
                  </a:schemeClr>
                </a:solidFill>
              </a:defRPr>
            </a:lvl1pPr>
            <a:lvl2pPr marL="336042" indent="0">
              <a:buNone/>
              <a:defRPr sz="1470">
                <a:solidFill>
                  <a:schemeClr val="tx1">
                    <a:tint val="82000"/>
                  </a:schemeClr>
                </a:solidFill>
              </a:defRPr>
            </a:lvl2pPr>
            <a:lvl3pPr marL="672084" indent="0">
              <a:buNone/>
              <a:defRPr sz="1323">
                <a:solidFill>
                  <a:schemeClr val="tx1">
                    <a:tint val="82000"/>
                  </a:schemeClr>
                </a:solidFill>
              </a:defRPr>
            </a:lvl3pPr>
            <a:lvl4pPr marL="1008126" indent="0">
              <a:buNone/>
              <a:defRPr sz="1176">
                <a:solidFill>
                  <a:schemeClr val="tx1">
                    <a:tint val="82000"/>
                  </a:schemeClr>
                </a:solidFill>
              </a:defRPr>
            </a:lvl4pPr>
            <a:lvl5pPr marL="1344168" indent="0">
              <a:buNone/>
              <a:defRPr sz="1176">
                <a:solidFill>
                  <a:schemeClr val="tx1">
                    <a:tint val="82000"/>
                  </a:schemeClr>
                </a:solidFill>
              </a:defRPr>
            </a:lvl5pPr>
            <a:lvl6pPr marL="1680210" indent="0">
              <a:buNone/>
              <a:defRPr sz="1176">
                <a:solidFill>
                  <a:schemeClr val="tx1">
                    <a:tint val="82000"/>
                  </a:schemeClr>
                </a:solidFill>
              </a:defRPr>
            </a:lvl6pPr>
            <a:lvl7pPr marL="2016252" indent="0">
              <a:buNone/>
              <a:defRPr sz="1176">
                <a:solidFill>
                  <a:schemeClr val="tx1">
                    <a:tint val="82000"/>
                  </a:schemeClr>
                </a:solidFill>
              </a:defRPr>
            </a:lvl7pPr>
            <a:lvl8pPr marL="2352294" indent="0">
              <a:buNone/>
              <a:defRPr sz="1176">
                <a:solidFill>
                  <a:schemeClr val="tx1">
                    <a:tint val="82000"/>
                  </a:schemeClr>
                </a:solidFill>
              </a:defRPr>
            </a:lvl8pPr>
            <a:lvl9pPr marL="2688336" indent="0">
              <a:buNone/>
              <a:defRPr sz="1176">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AF04235-AB1A-7F33-09F5-93A004B23E43}"/>
              </a:ext>
            </a:extLst>
          </p:cNvPr>
          <p:cNvSpPr>
            <a:spLocks noGrp="1"/>
          </p:cNvSpPr>
          <p:nvPr>
            <p:ph type="dt" sz="half" idx="10"/>
          </p:nvPr>
        </p:nvSpPr>
        <p:spPr/>
        <p:txBody>
          <a:bodyPr/>
          <a:lstStyle/>
          <a:p>
            <a:fld id="{82906654-90D9-461B-B7EF-41DAC4EA1F1E}" type="datetimeFigureOut">
              <a:rPr lang="en-US" smtClean="0"/>
              <a:t>7/31/2024</a:t>
            </a:fld>
            <a:endParaRPr lang="en-US"/>
          </a:p>
        </p:txBody>
      </p:sp>
      <p:sp>
        <p:nvSpPr>
          <p:cNvPr id="5" name="Footer Placeholder 4">
            <a:extLst>
              <a:ext uri="{FF2B5EF4-FFF2-40B4-BE49-F238E27FC236}">
                <a16:creationId xmlns:a16="http://schemas.microsoft.com/office/drawing/2014/main" id="{B1AD8051-BADF-C3AA-A30E-DD46168CC3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F9FE9B-8C51-34A0-A4B1-8C1AA3AA5649}"/>
              </a:ext>
            </a:extLst>
          </p:cNvPr>
          <p:cNvSpPr>
            <a:spLocks noGrp="1"/>
          </p:cNvSpPr>
          <p:nvPr>
            <p:ph type="sldNum" sz="quarter" idx="12"/>
          </p:nvPr>
        </p:nvSpPr>
        <p:spPr/>
        <p:txBody>
          <a:bodyPr/>
          <a:lstStyle/>
          <a:p>
            <a:fld id="{8FF6B6B2-7CFD-43FF-8870-CC4E5E6F05B6}" type="slidenum">
              <a:rPr lang="en-US" smtClean="0"/>
              <a:t>‹#›</a:t>
            </a:fld>
            <a:endParaRPr lang="en-US"/>
          </a:p>
        </p:txBody>
      </p:sp>
    </p:spTree>
    <p:extLst>
      <p:ext uri="{BB962C8B-B14F-4D97-AF65-F5344CB8AC3E}">
        <p14:creationId xmlns:p14="http://schemas.microsoft.com/office/powerpoint/2010/main" val="2657295953"/>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2B138-FB81-8C91-034D-31C2202D70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500012-D57C-E691-A109-6DEF3D9EE6C9}"/>
              </a:ext>
            </a:extLst>
          </p:cNvPr>
          <p:cNvSpPr>
            <a:spLocks noGrp="1"/>
          </p:cNvSpPr>
          <p:nvPr>
            <p:ph sz="half" idx="1"/>
          </p:nvPr>
        </p:nvSpPr>
        <p:spPr>
          <a:xfrm>
            <a:off x="616099" y="1789282"/>
            <a:ext cx="3808611" cy="4264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0AAE727-4C7E-F24E-F69F-31B7AAF4D969}"/>
              </a:ext>
            </a:extLst>
          </p:cNvPr>
          <p:cNvSpPr>
            <a:spLocks noGrp="1"/>
          </p:cNvSpPr>
          <p:nvPr>
            <p:ph sz="half" idx="2"/>
          </p:nvPr>
        </p:nvSpPr>
        <p:spPr>
          <a:xfrm>
            <a:off x="4536728" y="1789282"/>
            <a:ext cx="3808611" cy="4264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1EDBEB1-62F2-61E6-4769-8AF7918D8C3A}"/>
              </a:ext>
            </a:extLst>
          </p:cNvPr>
          <p:cNvSpPr>
            <a:spLocks noGrp="1"/>
          </p:cNvSpPr>
          <p:nvPr>
            <p:ph type="dt" sz="half" idx="10"/>
          </p:nvPr>
        </p:nvSpPr>
        <p:spPr/>
        <p:txBody>
          <a:bodyPr/>
          <a:lstStyle/>
          <a:p>
            <a:fld id="{82906654-90D9-461B-B7EF-41DAC4EA1F1E}" type="datetimeFigureOut">
              <a:rPr lang="en-US" smtClean="0"/>
              <a:t>7/31/2024</a:t>
            </a:fld>
            <a:endParaRPr lang="en-US"/>
          </a:p>
        </p:txBody>
      </p:sp>
      <p:sp>
        <p:nvSpPr>
          <p:cNvPr id="6" name="Footer Placeholder 5">
            <a:extLst>
              <a:ext uri="{FF2B5EF4-FFF2-40B4-BE49-F238E27FC236}">
                <a16:creationId xmlns:a16="http://schemas.microsoft.com/office/drawing/2014/main" id="{605DF724-1FAC-C8E0-0590-FA318B53F79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EE22CF-712E-05C8-EE2F-397919F011E1}"/>
              </a:ext>
            </a:extLst>
          </p:cNvPr>
          <p:cNvSpPr>
            <a:spLocks noGrp="1"/>
          </p:cNvSpPr>
          <p:nvPr>
            <p:ph type="sldNum" sz="quarter" idx="12"/>
          </p:nvPr>
        </p:nvSpPr>
        <p:spPr/>
        <p:txBody>
          <a:bodyPr/>
          <a:lstStyle/>
          <a:p>
            <a:fld id="{8FF6B6B2-7CFD-43FF-8870-CC4E5E6F05B6}" type="slidenum">
              <a:rPr lang="en-US" smtClean="0"/>
              <a:t>‹#›</a:t>
            </a:fld>
            <a:endParaRPr lang="en-US"/>
          </a:p>
        </p:txBody>
      </p:sp>
    </p:spTree>
    <p:extLst>
      <p:ext uri="{BB962C8B-B14F-4D97-AF65-F5344CB8AC3E}">
        <p14:creationId xmlns:p14="http://schemas.microsoft.com/office/powerpoint/2010/main" val="4009347617"/>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ACE8D-B5F4-8734-8112-3C71C3F6EF9A}"/>
              </a:ext>
            </a:extLst>
          </p:cNvPr>
          <p:cNvSpPr>
            <a:spLocks noGrp="1"/>
          </p:cNvSpPr>
          <p:nvPr>
            <p:ph type="title"/>
          </p:nvPr>
        </p:nvSpPr>
        <p:spPr>
          <a:xfrm>
            <a:off x="617266" y="357857"/>
            <a:ext cx="7729240" cy="1299174"/>
          </a:xfrm>
        </p:spPr>
        <p:txBody>
          <a:bodyPr/>
          <a:lstStyle/>
          <a:p>
            <a:r>
              <a:rPr lang="en-US"/>
              <a:t>Click to edit Master title style</a:t>
            </a:r>
          </a:p>
        </p:txBody>
      </p:sp>
      <p:sp>
        <p:nvSpPr>
          <p:cNvPr id="3" name="Text Placeholder 2">
            <a:extLst>
              <a:ext uri="{FF2B5EF4-FFF2-40B4-BE49-F238E27FC236}">
                <a16:creationId xmlns:a16="http://schemas.microsoft.com/office/drawing/2014/main" id="{C5A762E9-493F-29E5-CD79-E0B82DE82892}"/>
              </a:ext>
            </a:extLst>
          </p:cNvPr>
          <p:cNvSpPr>
            <a:spLocks noGrp="1"/>
          </p:cNvSpPr>
          <p:nvPr>
            <p:ph type="body" idx="1"/>
          </p:nvPr>
        </p:nvSpPr>
        <p:spPr>
          <a:xfrm>
            <a:off x="617266" y="1647695"/>
            <a:ext cx="3791108" cy="807510"/>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en-US"/>
              <a:t>Click to edit Master text styles</a:t>
            </a:r>
          </a:p>
        </p:txBody>
      </p:sp>
      <p:sp>
        <p:nvSpPr>
          <p:cNvPr id="4" name="Content Placeholder 3">
            <a:extLst>
              <a:ext uri="{FF2B5EF4-FFF2-40B4-BE49-F238E27FC236}">
                <a16:creationId xmlns:a16="http://schemas.microsoft.com/office/drawing/2014/main" id="{651E7819-B6E7-4A83-5CEA-809749A215AD}"/>
              </a:ext>
            </a:extLst>
          </p:cNvPr>
          <p:cNvSpPr>
            <a:spLocks noGrp="1"/>
          </p:cNvSpPr>
          <p:nvPr>
            <p:ph sz="half" idx="2"/>
          </p:nvPr>
        </p:nvSpPr>
        <p:spPr>
          <a:xfrm>
            <a:off x="617266" y="2455206"/>
            <a:ext cx="3791108" cy="3611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EA11B9-CB6B-EE5D-602B-30CE205CF028}"/>
              </a:ext>
            </a:extLst>
          </p:cNvPr>
          <p:cNvSpPr>
            <a:spLocks noGrp="1"/>
          </p:cNvSpPr>
          <p:nvPr>
            <p:ph type="body" sz="quarter" idx="3"/>
          </p:nvPr>
        </p:nvSpPr>
        <p:spPr>
          <a:xfrm>
            <a:off x="4536728" y="1647695"/>
            <a:ext cx="3809778" cy="807510"/>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en-US"/>
              <a:t>Click to edit Master text styles</a:t>
            </a:r>
          </a:p>
        </p:txBody>
      </p:sp>
      <p:sp>
        <p:nvSpPr>
          <p:cNvPr id="6" name="Content Placeholder 5">
            <a:extLst>
              <a:ext uri="{FF2B5EF4-FFF2-40B4-BE49-F238E27FC236}">
                <a16:creationId xmlns:a16="http://schemas.microsoft.com/office/drawing/2014/main" id="{30C24062-A965-4EF0-9138-A839029FEB19}"/>
              </a:ext>
            </a:extLst>
          </p:cNvPr>
          <p:cNvSpPr>
            <a:spLocks noGrp="1"/>
          </p:cNvSpPr>
          <p:nvPr>
            <p:ph sz="quarter" idx="4"/>
          </p:nvPr>
        </p:nvSpPr>
        <p:spPr>
          <a:xfrm>
            <a:off x="4536728" y="2455206"/>
            <a:ext cx="3809778" cy="3611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F4F518C-A60A-9532-0057-8CE7EED93909}"/>
              </a:ext>
            </a:extLst>
          </p:cNvPr>
          <p:cNvSpPr>
            <a:spLocks noGrp="1"/>
          </p:cNvSpPr>
          <p:nvPr>
            <p:ph type="dt" sz="half" idx="10"/>
          </p:nvPr>
        </p:nvSpPr>
        <p:spPr/>
        <p:txBody>
          <a:bodyPr/>
          <a:lstStyle/>
          <a:p>
            <a:fld id="{82906654-90D9-461B-B7EF-41DAC4EA1F1E}" type="datetimeFigureOut">
              <a:rPr lang="en-US" smtClean="0"/>
              <a:t>7/31/2024</a:t>
            </a:fld>
            <a:endParaRPr lang="en-US"/>
          </a:p>
        </p:txBody>
      </p:sp>
      <p:sp>
        <p:nvSpPr>
          <p:cNvPr id="8" name="Footer Placeholder 7">
            <a:extLst>
              <a:ext uri="{FF2B5EF4-FFF2-40B4-BE49-F238E27FC236}">
                <a16:creationId xmlns:a16="http://schemas.microsoft.com/office/drawing/2014/main" id="{923EE335-DE04-B654-5F6B-BA8B017B6DA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10505D8-9F9F-6DBC-9E14-5743D832B9F2}"/>
              </a:ext>
            </a:extLst>
          </p:cNvPr>
          <p:cNvSpPr>
            <a:spLocks noGrp="1"/>
          </p:cNvSpPr>
          <p:nvPr>
            <p:ph type="sldNum" sz="quarter" idx="12"/>
          </p:nvPr>
        </p:nvSpPr>
        <p:spPr/>
        <p:txBody>
          <a:bodyPr/>
          <a:lstStyle/>
          <a:p>
            <a:fld id="{8FF6B6B2-7CFD-43FF-8870-CC4E5E6F05B6}" type="slidenum">
              <a:rPr lang="en-US" smtClean="0"/>
              <a:t>‹#›</a:t>
            </a:fld>
            <a:endParaRPr lang="en-US"/>
          </a:p>
        </p:txBody>
      </p:sp>
    </p:spTree>
    <p:extLst>
      <p:ext uri="{BB962C8B-B14F-4D97-AF65-F5344CB8AC3E}">
        <p14:creationId xmlns:p14="http://schemas.microsoft.com/office/powerpoint/2010/main" val="2162957201"/>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2CB60B-5AF3-D944-E928-61FE44B38DC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3AA9063-3B55-5962-D10E-7D6AA2E05019}"/>
              </a:ext>
            </a:extLst>
          </p:cNvPr>
          <p:cNvSpPr>
            <a:spLocks noGrp="1"/>
          </p:cNvSpPr>
          <p:nvPr>
            <p:ph type="dt" sz="half" idx="10"/>
          </p:nvPr>
        </p:nvSpPr>
        <p:spPr/>
        <p:txBody>
          <a:bodyPr/>
          <a:lstStyle/>
          <a:p>
            <a:fld id="{82906654-90D9-461B-B7EF-41DAC4EA1F1E}" type="datetimeFigureOut">
              <a:rPr lang="en-US" smtClean="0"/>
              <a:t>7/31/2024</a:t>
            </a:fld>
            <a:endParaRPr lang="en-US"/>
          </a:p>
        </p:txBody>
      </p:sp>
      <p:sp>
        <p:nvSpPr>
          <p:cNvPr id="4" name="Footer Placeholder 3">
            <a:extLst>
              <a:ext uri="{FF2B5EF4-FFF2-40B4-BE49-F238E27FC236}">
                <a16:creationId xmlns:a16="http://schemas.microsoft.com/office/drawing/2014/main" id="{E1176FE7-1819-DD90-11E5-F62DDF6C1F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B497479-B516-8177-4D11-80D83C24657D}"/>
              </a:ext>
            </a:extLst>
          </p:cNvPr>
          <p:cNvSpPr>
            <a:spLocks noGrp="1"/>
          </p:cNvSpPr>
          <p:nvPr>
            <p:ph type="sldNum" sz="quarter" idx="12"/>
          </p:nvPr>
        </p:nvSpPr>
        <p:spPr/>
        <p:txBody>
          <a:bodyPr/>
          <a:lstStyle/>
          <a:p>
            <a:fld id="{8FF6B6B2-7CFD-43FF-8870-CC4E5E6F05B6}" type="slidenum">
              <a:rPr lang="en-US" smtClean="0"/>
              <a:t>‹#›</a:t>
            </a:fld>
            <a:endParaRPr lang="en-US"/>
          </a:p>
        </p:txBody>
      </p:sp>
    </p:spTree>
    <p:extLst>
      <p:ext uri="{BB962C8B-B14F-4D97-AF65-F5344CB8AC3E}">
        <p14:creationId xmlns:p14="http://schemas.microsoft.com/office/powerpoint/2010/main" val="3821373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5C010F8-640A-B47A-9306-276229B54D82}"/>
              </a:ext>
            </a:extLst>
          </p:cNvPr>
          <p:cNvSpPr>
            <a:spLocks noGrp="1"/>
          </p:cNvSpPr>
          <p:nvPr>
            <p:ph type="dt" sz="half" idx="10"/>
          </p:nvPr>
        </p:nvSpPr>
        <p:spPr/>
        <p:txBody>
          <a:bodyPr/>
          <a:lstStyle/>
          <a:p>
            <a:fld id="{82906654-90D9-461B-B7EF-41DAC4EA1F1E}" type="datetimeFigureOut">
              <a:rPr lang="en-US" smtClean="0"/>
              <a:t>7/31/2024</a:t>
            </a:fld>
            <a:endParaRPr lang="en-US"/>
          </a:p>
        </p:txBody>
      </p:sp>
      <p:sp>
        <p:nvSpPr>
          <p:cNvPr id="3" name="Footer Placeholder 2">
            <a:extLst>
              <a:ext uri="{FF2B5EF4-FFF2-40B4-BE49-F238E27FC236}">
                <a16:creationId xmlns:a16="http://schemas.microsoft.com/office/drawing/2014/main" id="{9D4E902E-AEBB-F1E3-41DF-C3BC4C18C6B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641F5A-A1E5-89CF-EFE1-3ABF28C9758E}"/>
              </a:ext>
            </a:extLst>
          </p:cNvPr>
          <p:cNvSpPr>
            <a:spLocks noGrp="1"/>
          </p:cNvSpPr>
          <p:nvPr>
            <p:ph type="sldNum" sz="quarter" idx="12"/>
          </p:nvPr>
        </p:nvSpPr>
        <p:spPr/>
        <p:txBody>
          <a:bodyPr/>
          <a:lstStyle/>
          <a:p>
            <a:fld id="{8FF6B6B2-7CFD-43FF-8870-CC4E5E6F05B6}" type="slidenum">
              <a:rPr lang="en-US" smtClean="0"/>
              <a:t>‹#›</a:t>
            </a:fld>
            <a:endParaRPr lang="en-US"/>
          </a:p>
        </p:txBody>
      </p:sp>
    </p:spTree>
    <p:extLst>
      <p:ext uri="{BB962C8B-B14F-4D97-AF65-F5344CB8AC3E}">
        <p14:creationId xmlns:p14="http://schemas.microsoft.com/office/powerpoint/2010/main" val="749127817"/>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FD2B9-530C-6400-AEDA-A3ABB85357B2}"/>
              </a:ext>
            </a:extLst>
          </p:cNvPr>
          <p:cNvSpPr>
            <a:spLocks noGrp="1"/>
          </p:cNvSpPr>
          <p:nvPr>
            <p:ph type="title"/>
          </p:nvPr>
        </p:nvSpPr>
        <p:spPr>
          <a:xfrm>
            <a:off x="617266" y="448098"/>
            <a:ext cx="2890297" cy="1568344"/>
          </a:xfrm>
        </p:spPr>
        <p:txBody>
          <a:bodyPr anchor="b"/>
          <a:lstStyle>
            <a:lvl1pPr>
              <a:defRPr sz="2352"/>
            </a:lvl1pPr>
          </a:lstStyle>
          <a:p>
            <a:r>
              <a:rPr lang="en-US"/>
              <a:t>Click to edit Master title style</a:t>
            </a:r>
          </a:p>
        </p:txBody>
      </p:sp>
      <p:sp>
        <p:nvSpPr>
          <p:cNvPr id="3" name="Content Placeholder 2">
            <a:extLst>
              <a:ext uri="{FF2B5EF4-FFF2-40B4-BE49-F238E27FC236}">
                <a16:creationId xmlns:a16="http://schemas.microsoft.com/office/drawing/2014/main" id="{CFAE2AC1-3C02-FD7A-4F6A-3D0EB3D0683A}"/>
              </a:ext>
            </a:extLst>
          </p:cNvPr>
          <p:cNvSpPr>
            <a:spLocks noGrp="1"/>
          </p:cNvSpPr>
          <p:nvPr>
            <p:ph idx="1"/>
          </p:nvPr>
        </p:nvSpPr>
        <p:spPr>
          <a:xfrm>
            <a:off x="3809778" y="967768"/>
            <a:ext cx="4536728" cy="4776604"/>
          </a:xfrm>
        </p:spPr>
        <p:txBody>
          <a:bodyPr/>
          <a:lstStyle>
            <a:lvl1pPr>
              <a:defRPr sz="2352"/>
            </a:lvl1pPr>
            <a:lvl2pPr>
              <a:defRPr sz="2058"/>
            </a:lvl2pPr>
            <a:lvl3pPr>
              <a:defRPr sz="1764"/>
            </a:lvl3pPr>
            <a:lvl4pPr>
              <a:defRPr sz="1470"/>
            </a:lvl4pPr>
            <a:lvl5pPr>
              <a:defRPr sz="1470"/>
            </a:lvl5pPr>
            <a:lvl6pPr>
              <a:defRPr sz="1470"/>
            </a:lvl6pPr>
            <a:lvl7pPr>
              <a:defRPr sz="1470"/>
            </a:lvl7pPr>
            <a:lvl8pPr>
              <a:defRPr sz="1470"/>
            </a:lvl8pPr>
            <a:lvl9pPr>
              <a:defRPr sz="14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EC0E946-6D7A-8537-7604-7446173488F3}"/>
              </a:ext>
            </a:extLst>
          </p:cNvPr>
          <p:cNvSpPr>
            <a:spLocks noGrp="1"/>
          </p:cNvSpPr>
          <p:nvPr>
            <p:ph type="body" sz="half" idx="2"/>
          </p:nvPr>
        </p:nvSpPr>
        <p:spPr>
          <a:xfrm>
            <a:off x="617266" y="2016443"/>
            <a:ext cx="2890297" cy="3735709"/>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en-US"/>
              <a:t>Click to edit Master text styles</a:t>
            </a:r>
          </a:p>
        </p:txBody>
      </p:sp>
      <p:sp>
        <p:nvSpPr>
          <p:cNvPr id="5" name="Date Placeholder 4">
            <a:extLst>
              <a:ext uri="{FF2B5EF4-FFF2-40B4-BE49-F238E27FC236}">
                <a16:creationId xmlns:a16="http://schemas.microsoft.com/office/drawing/2014/main" id="{A386C665-28B2-2F69-20E8-778B24FF292C}"/>
              </a:ext>
            </a:extLst>
          </p:cNvPr>
          <p:cNvSpPr>
            <a:spLocks noGrp="1"/>
          </p:cNvSpPr>
          <p:nvPr>
            <p:ph type="dt" sz="half" idx="10"/>
          </p:nvPr>
        </p:nvSpPr>
        <p:spPr/>
        <p:txBody>
          <a:bodyPr/>
          <a:lstStyle/>
          <a:p>
            <a:fld id="{82906654-90D9-461B-B7EF-41DAC4EA1F1E}" type="datetimeFigureOut">
              <a:rPr lang="en-US" smtClean="0"/>
              <a:t>7/31/2024</a:t>
            </a:fld>
            <a:endParaRPr lang="en-US"/>
          </a:p>
        </p:txBody>
      </p:sp>
      <p:sp>
        <p:nvSpPr>
          <p:cNvPr id="6" name="Footer Placeholder 5">
            <a:extLst>
              <a:ext uri="{FF2B5EF4-FFF2-40B4-BE49-F238E27FC236}">
                <a16:creationId xmlns:a16="http://schemas.microsoft.com/office/drawing/2014/main" id="{A6CD599D-C6E3-BAC7-9BF6-8521A2AD306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3254F3A-1BB1-22A1-78A6-1E3932621DDC}"/>
              </a:ext>
            </a:extLst>
          </p:cNvPr>
          <p:cNvSpPr>
            <a:spLocks noGrp="1"/>
          </p:cNvSpPr>
          <p:nvPr>
            <p:ph type="sldNum" sz="quarter" idx="12"/>
          </p:nvPr>
        </p:nvSpPr>
        <p:spPr/>
        <p:txBody>
          <a:bodyPr/>
          <a:lstStyle/>
          <a:p>
            <a:fld id="{8FF6B6B2-7CFD-43FF-8870-CC4E5E6F05B6}" type="slidenum">
              <a:rPr lang="en-US" smtClean="0"/>
              <a:t>‹#›</a:t>
            </a:fld>
            <a:endParaRPr lang="en-US"/>
          </a:p>
        </p:txBody>
      </p:sp>
    </p:spTree>
    <p:extLst>
      <p:ext uri="{BB962C8B-B14F-4D97-AF65-F5344CB8AC3E}">
        <p14:creationId xmlns:p14="http://schemas.microsoft.com/office/powerpoint/2010/main" val="1827452158"/>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8F956-59E4-8CE6-A193-C69B4CCB027C}"/>
              </a:ext>
            </a:extLst>
          </p:cNvPr>
          <p:cNvSpPr>
            <a:spLocks noGrp="1"/>
          </p:cNvSpPr>
          <p:nvPr>
            <p:ph type="title"/>
          </p:nvPr>
        </p:nvSpPr>
        <p:spPr>
          <a:xfrm>
            <a:off x="617266" y="448098"/>
            <a:ext cx="2890297" cy="1568344"/>
          </a:xfrm>
        </p:spPr>
        <p:txBody>
          <a:bodyPr anchor="b"/>
          <a:lstStyle>
            <a:lvl1pPr>
              <a:defRPr sz="2352"/>
            </a:lvl1pPr>
          </a:lstStyle>
          <a:p>
            <a:r>
              <a:rPr lang="en-US"/>
              <a:t>Click to edit Master title style</a:t>
            </a:r>
          </a:p>
        </p:txBody>
      </p:sp>
      <p:sp>
        <p:nvSpPr>
          <p:cNvPr id="3" name="Picture Placeholder 2">
            <a:extLst>
              <a:ext uri="{FF2B5EF4-FFF2-40B4-BE49-F238E27FC236}">
                <a16:creationId xmlns:a16="http://schemas.microsoft.com/office/drawing/2014/main" id="{3D15A97C-E3E6-03C1-8586-86A2FDA6622A}"/>
              </a:ext>
            </a:extLst>
          </p:cNvPr>
          <p:cNvSpPr>
            <a:spLocks noGrp="1"/>
          </p:cNvSpPr>
          <p:nvPr>
            <p:ph type="pic" idx="1"/>
          </p:nvPr>
        </p:nvSpPr>
        <p:spPr>
          <a:xfrm>
            <a:off x="3809778" y="967768"/>
            <a:ext cx="4536728" cy="4776604"/>
          </a:xfrm>
        </p:spPr>
        <p:txBody>
          <a:bodyPr/>
          <a:lstStyle>
            <a:lvl1pPr marL="0" indent="0">
              <a:buNone/>
              <a:defRPr sz="2352"/>
            </a:lvl1pPr>
            <a:lvl2pPr marL="336042" indent="0">
              <a:buNone/>
              <a:defRPr sz="2058"/>
            </a:lvl2pPr>
            <a:lvl3pPr marL="672084" indent="0">
              <a:buNone/>
              <a:defRPr sz="1764"/>
            </a:lvl3pPr>
            <a:lvl4pPr marL="1008126" indent="0">
              <a:buNone/>
              <a:defRPr sz="1470"/>
            </a:lvl4pPr>
            <a:lvl5pPr marL="1344168" indent="0">
              <a:buNone/>
              <a:defRPr sz="1470"/>
            </a:lvl5pPr>
            <a:lvl6pPr marL="1680210" indent="0">
              <a:buNone/>
              <a:defRPr sz="1470"/>
            </a:lvl6pPr>
            <a:lvl7pPr marL="2016252" indent="0">
              <a:buNone/>
              <a:defRPr sz="1470"/>
            </a:lvl7pPr>
            <a:lvl8pPr marL="2352294" indent="0">
              <a:buNone/>
              <a:defRPr sz="1470"/>
            </a:lvl8pPr>
            <a:lvl9pPr marL="2688336" indent="0">
              <a:buNone/>
              <a:defRPr sz="1470"/>
            </a:lvl9pPr>
          </a:lstStyle>
          <a:p>
            <a:endParaRPr lang="en-US"/>
          </a:p>
        </p:txBody>
      </p:sp>
      <p:sp>
        <p:nvSpPr>
          <p:cNvPr id="4" name="Text Placeholder 3">
            <a:extLst>
              <a:ext uri="{FF2B5EF4-FFF2-40B4-BE49-F238E27FC236}">
                <a16:creationId xmlns:a16="http://schemas.microsoft.com/office/drawing/2014/main" id="{05B85A8A-145A-03FC-5BC1-40FAFFEF9190}"/>
              </a:ext>
            </a:extLst>
          </p:cNvPr>
          <p:cNvSpPr>
            <a:spLocks noGrp="1"/>
          </p:cNvSpPr>
          <p:nvPr>
            <p:ph type="body" sz="half" idx="2"/>
          </p:nvPr>
        </p:nvSpPr>
        <p:spPr>
          <a:xfrm>
            <a:off x="617266" y="2016443"/>
            <a:ext cx="2890297" cy="3735709"/>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en-US"/>
              <a:t>Click to edit Master text styles</a:t>
            </a:r>
          </a:p>
        </p:txBody>
      </p:sp>
      <p:sp>
        <p:nvSpPr>
          <p:cNvPr id="5" name="Date Placeholder 4">
            <a:extLst>
              <a:ext uri="{FF2B5EF4-FFF2-40B4-BE49-F238E27FC236}">
                <a16:creationId xmlns:a16="http://schemas.microsoft.com/office/drawing/2014/main" id="{4174A4DF-CA14-3F21-9DB0-4DCCF2B2C569}"/>
              </a:ext>
            </a:extLst>
          </p:cNvPr>
          <p:cNvSpPr>
            <a:spLocks noGrp="1"/>
          </p:cNvSpPr>
          <p:nvPr>
            <p:ph type="dt" sz="half" idx="10"/>
          </p:nvPr>
        </p:nvSpPr>
        <p:spPr/>
        <p:txBody>
          <a:bodyPr/>
          <a:lstStyle/>
          <a:p>
            <a:fld id="{82906654-90D9-461B-B7EF-41DAC4EA1F1E}" type="datetimeFigureOut">
              <a:rPr lang="en-US" smtClean="0"/>
              <a:t>7/31/2024</a:t>
            </a:fld>
            <a:endParaRPr lang="en-US"/>
          </a:p>
        </p:txBody>
      </p:sp>
      <p:sp>
        <p:nvSpPr>
          <p:cNvPr id="6" name="Footer Placeholder 5">
            <a:extLst>
              <a:ext uri="{FF2B5EF4-FFF2-40B4-BE49-F238E27FC236}">
                <a16:creationId xmlns:a16="http://schemas.microsoft.com/office/drawing/2014/main" id="{A8C9F0E3-3BD9-1956-05C3-C3C86E49F8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E37680-252F-813E-CE9F-FDA1E8F515FD}"/>
              </a:ext>
            </a:extLst>
          </p:cNvPr>
          <p:cNvSpPr>
            <a:spLocks noGrp="1"/>
          </p:cNvSpPr>
          <p:nvPr>
            <p:ph type="sldNum" sz="quarter" idx="12"/>
          </p:nvPr>
        </p:nvSpPr>
        <p:spPr/>
        <p:txBody>
          <a:bodyPr/>
          <a:lstStyle/>
          <a:p>
            <a:fld id="{8FF6B6B2-7CFD-43FF-8870-CC4E5E6F05B6}" type="slidenum">
              <a:rPr lang="en-US" smtClean="0"/>
              <a:t>‹#›</a:t>
            </a:fld>
            <a:endParaRPr lang="en-US"/>
          </a:p>
        </p:txBody>
      </p:sp>
    </p:spTree>
    <p:extLst>
      <p:ext uri="{BB962C8B-B14F-4D97-AF65-F5344CB8AC3E}">
        <p14:creationId xmlns:p14="http://schemas.microsoft.com/office/powerpoint/2010/main" val="2751054462"/>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CD503E8-AA08-DA0C-CA36-FD1EA76EF752}"/>
              </a:ext>
            </a:extLst>
          </p:cNvPr>
          <p:cNvSpPr>
            <a:spLocks noGrp="1"/>
          </p:cNvSpPr>
          <p:nvPr>
            <p:ph type="title"/>
          </p:nvPr>
        </p:nvSpPr>
        <p:spPr>
          <a:xfrm>
            <a:off x="616099" y="357857"/>
            <a:ext cx="7729240" cy="129917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9ADBD8D-C252-4E4F-EEAE-E246C06C51D9}"/>
              </a:ext>
            </a:extLst>
          </p:cNvPr>
          <p:cNvSpPr>
            <a:spLocks noGrp="1"/>
          </p:cNvSpPr>
          <p:nvPr>
            <p:ph type="body" idx="1"/>
          </p:nvPr>
        </p:nvSpPr>
        <p:spPr>
          <a:xfrm>
            <a:off x="616099" y="1789282"/>
            <a:ext cx="7729240" cy="4264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2DB6B2-6AB7-9AF2-CF6C-24757D0A1E43}"/>
              </a:ext>
            </a:extLst>
          </p:cNvPr>
          <p:cNvSpPr>
            <a:spLocks noGrp="1"/>
          </p:cNvSpPr>
          <p:nvPr>
            <p:ph type="dt" sz="half" idx="2"/>
          </p:nvPr>
        </p:nvSpPr>
        <p:spPr>
          <a:xfrm>
            <a:off x="616099" y="6229812"/>
            <a:ext cx="2016324" cy="357856"/>
          </a:xfrm>
          <a:prstGeom prst="rect">
            <a:avLst/>
          </a:prstGeom>
        </p:spPr>
        <p:txBody>
          <a:bodyPr vert="horz" lIns="91440" tIns="45720" rIns="91440" bIns="45720" rtlCol="0" anchor="ctr"/>
          <a:lstStyle>
            <a:lvl1pPr algn="l">
              <a:defRPr sz="882">
                <a:solidFill>
                  <a:schemeClr val="tx1">
                    <a:tint val="82000"/>
                  </a:schemeClr>
                </a:solidFill>
              </a:defRPr>
            </a:lvl1pPr>
          </a:lstStyle>
          <a:p>
            <a:fld id="{82906654-90D9-461B-B7EF-41DAC4EA1F1E}" type="datetimeFigureOut">
              <a:rPr lang="en-US" smtClean="0"/>
              <a:t>7/31/2024</a:t>
            </a:fld>
            <a:endParaRPr lang="en-US"/>
          </a:p>
        </p:txBody>
      </p:sp>
      <p:sp>
        <p:nvSpPr>
          <p:cNvPr id="5" name="Footer Placeholder 4">
            <a:extLst>
              <a:ext uri="{FF2B5EF4-FFF2-40B4-BE49-F238E27FC236}">
                <a16:creationId xmlns:a16="http://schemas.microsoft.com/office/drawing/2014/main" id="{71E32BA4-60D0-533E-298D-B784A0A3E3A6}"/>
              </a:ext>
            </a:extLst>
          </p:cNvPr>
          <p:cNvSpPr>
            <a:spLocks noGrp="1"/>
          </p:cNvSpPr>
          <p:nvPr>
            <p:ph type="ftr" sz="quarter" idx="3"/>
          </p:nvPr>
        </p:nvSpPr>
        <p:spPr>
          <a:xfrm>
            <a:off x="2968477" y="6229812"/>
            <a:ext cx="3024485" cy="357856"/>
          </a:xfrm>
          <a:prstGeom prst="rect">
            <a:avLst/>
          </a:prstGeom>
        </p:spPr>
        <p:txBody>
          <a:bodyPr vert="horz" lIns="91440" tIns="45720" rIns="91440" bIns="45720" rtlCol="0" anchor="ctr"/>
          <a:lstStyle>
            <a:lvl1pPr algn="ctr">
              <a:defRPr sz="882">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C6849D3-E980-8AD7-33A2-EEEB09FA72E0}"/>
              </a:ext>
            </a:extLst>
          </p:cNvPr>
          <p:cNvSpPr>
            <a:spLocks noGrp="1"/>
          </p:cNvSpPr>
          <p:nvPr>
            <p:ph type="sldNum" sz="quarter" idx="4"/>
          </p:nvPr>
        </p:nvSpPr>
        <p:spPr>
          <a:xfrm>
            <a:off x="6329015" y="6229812"/>
            <a:ext cx="2016324" cy="357856"/>
          </a:xfrm>
          <a:prstGeom prst="rect">
            <a:avLst/>
          </a:prstGeom>
        </p:spPr>
        <p:txBody>
          <a:bodyPr vert="horz" lIns="91440" tIns="45720" rIns="91440" bIns="45720" rtlCol="0" anchor="ctr"/>
          <a:lstStyle>
            <a:lvl1pPr algn="r">
              <a:defRPr sz="882">
                <a:solidFill>
                  <a:schemeClr val="tx1">
                    <a:tint val="82000"/>
                  </a:schemeClr>
                </a:solidFill>
              </a:defRPr>
            </a:lvl1pPr>
          </a:lstStyle>
          <a:p>
            <a:fld id="{8FF6B6B2-7CFD-43FF-8870-CC4E5E6F05B6}" type="slidenum">
              <a:rPr lang="en-US" smtClean="0"/>
              <a:t>‹#›</a:t>
            </a:fld>
            <a:endParaRPr lang="en-US"/>
          </a:p>
        </p:txBody>
      </p:sp>
    </p:spTree>
    <p:extLst>
      <p:ext uri="{BB962C8B-B14F-4D97-AF65-F5344CB8AC3E}">
        <p14:creationId xmlns:p14="http://schemas.microsoft.com/office/powerpoint/2010/main" val="4048339192"/>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688" r:id="rId12"/>
  </p:sldLayoutIdLst>
  <p:hf hdr="0" ftr="0" dt="0"/>
  <p:txStyles>
    <p:titleStyle>
      <a:lvl1pPr algn="l" defTabSz="672084"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21" indent="-168021" algn="l" defTabSz="672084" rtl="0" eaLnBrk="1" latinLnBrk="0" hangingPunct="1">
        <a:lnSpc>
          <a:spcPct val="90000"/>
        </a:lnSpc>
        <a:spcBef>
          <a:spcPts val="735"/>
        </a:spcBef>
        <a:buFont typeface="Arial" panose="020B0604020202020204" pitchFamily="34" charset="0"/>
        <a:buChar char="•"/>
        <a:defRPr sz="2058" kern="1200">
          <a:solidFill>
            <a:schemeClr val="tx1"/>
          </a:solidFill>
          <a:latin typeface="+mn-lt"/>
          <a:ea typeface="+mn-ea"/>
          <a:cs typeface="+mn-cs"/>
        </a:defRPr>
      </a:lvl1pPr>
      <a:lvl2pPr marL="504063" indent="-168021" algn="l" defTabSz="672084" rtl="0" eaLnBrk="1" latinLnBrk="0" hangingPunct="1">
        <a:lnSpc>
          <a:spcPct val="90000"/>
        </a:lnSpc>
        <a:spcBef>
          <a:spcPts val="368"/>
        </a:spcBef>
        <a:buFont typeface="Arial" panose="020B0604020202020204" pitchFamily="34" charset="0"/>
        <a:buChar char="•"/>
        <a:defRPr sz="1764" kern="1200">
          <a:solidFill>
            <a:schemeClr val="tx1"/>
          </a:solidFill>
          <a:latin typeface="+mn-lt"/>
          <a:ea typeface="+mn-ea"/>
          <a:cs typeface="+mn-cs"/>
        </a:defRPr>
      </a:lvl2pPr>
      <a:lvl3pPr marL="840105" indent="-168021" algn="l" defTabSz="672084" rtl="0" eaLnBrk="1" latinLnBrk="0" hangingPunct="1">
        <a:lnSpc>
          <a:spcPct val="90000"/>
        </a:lnSpc>
        <a:spcBef>
          <a:spcPts val="368"/>
        </a:spcBef>
        <a:buFont typeface="Arial" panose="020B0604020202020204" pitchFamily="34" charset="0"/>
        <a:buChar char="•"/>
        <a:defRPr sz="1470" kern="1200">
          <a:solidFill>
            <a:schemeClr val="tx1"/>
          </a:solidFill>
          <a:latin typeface="+mn-lt"/>
          <a:ea typeface="+mn-ea"/>
          <a:cs typeface="+mn-cs"/>
        </a:defRPr>
      </a:lvl3pPr>
      <a:lvl4pPr marL="117614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4pPr>
      <a:lvl5pPr marL="1512189"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5pPr>
      <a:lvl6pPr marL="1848231"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73"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315"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35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en-US"/>
      </a:defPPr>
      <a:lvl1pPr marL="0" algn="l" defTabSz="672084" rtl="0" eaLnBrk="1" latinLnBrk="0" hangingPunct="1">
        <a:defRPr sz="1323" kern="1200">
          <a:solidFill>
            <a:schemeClr val="tx1"/>
          </a:solidFill>
          <a:latin typeface="+mn-lt"/>
          <a:ea typeface="+mn-ea"/>
          <a:cs typeface="+mn-cs"/>
        </a:defRPr>
      </a:lvl1pPr>
      <a:lvl2pPr marL="336042" algn="l" defTabSz="672084" rtl="0" eaLnBrk="1" latinLnBrk="0" hangingPunct="1">
        <a:defRPr sz="1323" kern="1200">
          <a:solidFill>
            <a:schemeClr val="tx1"/>
          </a:solidFill>
          <a:latin typeface="+mn-lt"/>
          <a:ea typeface="+mn-ea"/>
          <a:cs typeface="+mn-cs"/>
        </a:defRPr>
      </a:lvl2pPr>
      <a:lvl3pPr marL="672084" algn="l" defTabSz="672084" rtl="0" eaLnBrk="1" latinLnBrk="0" hangingPunct="1">
        <a:defRPr sz="1323" kern="1200">
          <a:solidFill>
            <a:schemeClr val="tx1"/>
          </a:solidFill>
          <a:latin typeface="+mn-lt"/>
          <a:ea typeface="+mn-ea"/>
          <a:cs typeface="+mn-cs"/>
        </a:defRPr>
      </a:lvl3pPr>
      <a:lvl4pPr marL="1008126" algn="l" defTabSz="672084" rtl="0" eaLnBrk="1" latinLnBrk="0" hangingPunct="1">
        <a:defRPr sz="1323" kern="1200">
          <a:solidFill>
            <a:schemeClr val="tx1"/>
          </a:solidFill>
          <a:latin typeface="+mn-lt"/>
          <a:ea typeface="+mn-ea"/>
          <a:cs typeface="+mn-cs"/>
        </a:defRPr>
      </a:lvl4pPr>
      <a:lvl5pPr marL="1344168" algn="l" defTabSz="672084" rtl="0" eaLnBrk="1" latinLnBrk="0" hangingPunct="1">
        <a:defRPr sz="1323" kern="1200">
          <a:solidFill>
            <a:schemeClr val="tx1"/>
          </a:solidFill>
          <a:latin typeface="+mn-lt"/>
          <a:ea typeface="+mn-ea"/>
          <a:cs typeface="+mn-cs"/>
        </a:defRPr>
      </a:lvl5pPr>
      <a:lvl6pPr marL="1680210" algn="l" defTabSz="672084" rtl="0" eaLnBrk="1" latinLnBrk="0" hangingPunct="1">
        <a:defRPr sz="1323" kern="1200">
          <a:solidFill>
            <a:schemeClr val="tx1"/>
          </a:solidFill>
          <a:latin typeface="+mn-lt"/>
          <a:ea typeface="+mn-ea"/>
          <a:cs typeface="+mn-cs"/>
        </a:defRPr>
      </a:lvl6pPr>
      <a:lvl7pPr marL="2016252" algn="l" defTabSz="672084" rtl="0" eaLnBrk="1" latinLnBrk="0" hangingPunct="1">
        <a:defRPr sz="1323" kern="1200">
          <a:solidFill>
            <a:schemeClr val="tx1"/>
          </a:solidFill>
          <a:latin typeface="+mn-lt"/>
          <a:ea typeface="+mn-ea"/>
          <a:cs typeface="+mn-cs"/>
        </a:defRPr>
      </a:lvl7pPr>
      <a:lvl8pPr marL="2352294" algn="l" defTabSz="672084" rtl="0" eaLnBrk="1" latinLnBrk="0" hangingPunct="1">
        <a:defRPr sz="1323" kern="1200">
          <a:solidFill>
            <a:schemeClr val="tx1"/>
          </a:solidFill>
          <a:latin typeface="+mn-lt"/>
          <a:ea typeface="+mn-ea"/>
          <a:cs typeface="+mn-cs"/>
        </a:defRPr>
      </a:lvl8pPr>
      <a:lvl9pPr marL="2688336" algn="l" defTabSz="672084" rtl="0" eaLnBrk="1" latinLnBrk="0" hangingPunct="1">
        <a:defRPr sz="1323"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6.xml"/><Relationship Id="rId4" Type="http://schemas.openxmlformats.org/officeDocument/2006/relationships/chart" Target="../charts/chart7.xml"/></Relationships>
</file>

<file path=ppt/slides/_rels/slide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normAutofit fontScale="90000"/>
          </a:bodyPr>
          <a:lstStyle/>
          <a:p>
            <a:pPr algn="just"/>
            <a:r>
              <a:rPr lang="en-GB" sz="1200" b="1" dirty="0"/>
              <a:t>Descriptive and inferential statistical methodologies has proven effective in creating a proactive ‘alarm’, identifying Horse Power (R Value), Volumetric Flow Meter 1 (R Value) </a:t>
            </a:r>
            <a:r>
              <a:rPr lang="en-GB" sz="1200" b="1"/>
              <a:t>and Pump Efficiency </a:t>
            </a:r>
            <a:r>
              <a:rPr lang="en-GB" sz="1200" b="1" dirty="0"/>
              <a:t>(R Value) emerging as key variables of interest that have high correlations associated with  Pump Failure.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FE2496B6-4518-D2D0-6C57-C6705C4B2184}"/>
              </a:ext>
            </a:extLst>
          </p:cNvPr>
          <p:cNvGraphicFramePr>
            <a:graphicFrameLocks/>
          </p:cNvGraphicFramePr>
          <p:nvPr>
            <p:extLst>
              <p:ext uri="{D42A27DB-BD31-4B8C-83A1-F6EECF244321}">
                <p14:modId xmlns:p14="http://schemas.microsoft.com/office/powerpoint/2010/main" val="1334514338"/>
              </p:ext>
            </p:extLst>
          </p:nvPr>
        </p:nvGraphicFramePr>
        <p:xfrm>
          <a:off x="1" y="1806257"/>
          <a:ext cx="4315968" cy="287547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0BA6DA2B-CA97-4FC5-BE8A-075C80554F0E}"/>
              </a:ext>
            </a:extLst>
          </p:cNvPr>
          <p:cNvGraphicFramePr>
            <a:graphicFrameLocks/>
          </p:cNvGraphicFramePr>
          <p:nvPr>
            <p:extLst>
              <p:ext uri="{D42A27DB-BD31-4B8C-83A1-F6EECF244321}">
                <p14:modId xmlns:p14="http://schemas.microsoft.com/office/powerpoint/2010/main" val="90884732"/>
              </p:ext>
            </p:extLst>
          </p:nvPr>
        </p:nvGraphicFramePr>
        <p:xfrm>
          <a:off x="4218432" y="957076"/>
          <a:ext cx="4690618" cy="544372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normAutofit fontScale="90000"/>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4" name="Chart 3">
            <a:extLst>
              <a:ext uri="{FF2B5EF4-FFF2-40B4-BE49-F238E27FC236}">
                <a16:creationId xmlns:a16="http://schemas.microsoft.com/office/drawing/2014/main" id="{57926F04-82DE-45DC-AA42-7E5628EADBD3}"/>
              </a:ext>
            </a:extLst>
          </p:cNvPr>
          <p:cNvGraphicFramePr>
            <a:graphicFrameLocks/>
          </p:cNvGraphicFramePr>
          <p:nvPr>
            <p:extLst>
              <p:ext uri="{D42A27DB-BD31-4B8C-83A1-F6EECF244321}">
                <p14:modId xmlns:p14="http://schemas.microsoft.com/office/powerpoint/2010/main" val="3085925308"/>
              </p:ext>
            </p:extLst>
          </p:nvPr>
        </p:nvGraphicFramePr>
        <p:xfrm>
          <a:off x="26195" y="831477"/>
          <a:ext cx="8584406" cy="305472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F0AABB37-5C8D-4B9C-A699-9842EA0FB4E3}"/>
              </a:ext>
            </a:extLst>
          </p:cNvPr>
          <p:cNvGraphicFramePr>
            <a:graphicFrameLocks/>
          </p:cNvGraphicFramePr>
          <p:nvPr>
            <p:extLst>
              <p:ext uri="{D42A27DB-BD31-4B8C-83A1-F6EECF244321}">
                <p14:modId xmlns:p14="http://schemas.microsoft.com/office/powerpoint/2010/main" val="434884714"/>
              </p:ext>
            </p:extLst>
          </p:nvPr>
        </p:nvGraphicFramePr>
        <p:xfrm>
          <a:off x="26195" y="3949422"/>
          <a:ext cx="8779515" cy="28352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normAutofit fontScale="90000"/>
          </a:bodyPr>
          <a:lstStyle/>
          <a:p>
            <a:pPr algn="just"/>
            <a:r>
              <a:rPr lang="en-GB" sz="1400" b="1" dirty="0"/>
              <a:t>Further segmentation of the data via binary means (Pump Failure = 0 or 1) illustrated through box and whisker plots show a clear signature difference between that of normal behaviour and that of Failure with Pump Torque, Pump Speed Pump Efficiency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22C88A0A-1B89-D8C9-235C-C5E32E43EA15}"/>
              </a:ext>
            </a:extLst>
          </p:cNvPr>
          <p:cNvPicPr>
            <a:picLocks noChangeAspect="1"/>
          </p:cNvPicPr>
          <p:nvPr/>
        </p:nvPicPr>
        <p:blipFill>
          <a:blip r:embed="rId2"/>
          <a:stretch>
            <a:fillRect/>
          </a:stretch>
        </p:blipFill>
        <p:spPr>
          <a:xfrm>
            <a:off x="315940" y="1123990"/>
            <a:ext cx="3563152" cy="2747090"/>
          </a:xfrm>
          <a:prstGeom prst="rect">
            <a:avLst/>
          </a:prstGeom>
        </p:spPr>
      </p:pic>
      <p:pic>
        <p:nvPicPr>
          <p:cNvPr id="5" name="Picture 4">
            <a:extLst>
              <a:ext uri="{FF2B5EF4-FFF2-40B4-BE49-F238E27FC236}">
                <a16:creationId xmlns:a16="http://schemas.microsoft.com/office/drawing/2014/main" id="{0F9BFD34-D621-0B20-5B13-FC595CAFDC77}"/>
              </a:ext>
            </a:extLst>
          </p:cNvPr>
          <p:cNvPicPr>
            <a:picLocks noChangeAspect="1"/>
          </p:cNvPicPr>
          <p:nvPr/>
        </p:nvPicPr>
        <p:blipFill>
          <a:blip r:embed="rId3"/>
          <a:stretch>
            <a:fillRect/>
          </a:stretch>
        </p:blipFill>
        <p:spPr>
          <a:xfrm>
            <a:off x="4391025" y="1123990"/>
            <a:ext cx="4117891" cy="2747089"/>
          </a:xfrm>
          <a:prstGeom prst="rect">
            <a:avLst/>
          </a:prstGeom>
        </p:spPr>
      </p:pic>
      <p:pic>
        <p:nvPicPr>
          <p:cNvPr id="6" name="Picture 5">
            <a:extLst>
              <a:ext uri="{FF2B5EF4-FFF2-40B4-BE49-F238E27FC236}">
                <a16:creationId xmlns:a16="http://schemas.microsoft.com/office/drawing/2014/main" id="{342FCCE1-F529-70CF-AF4A-7C6E5FD3C5D2}"/>
              </a:ext>
            </a:extLst>
          </p:cNvPr>
          <p:cNvPicPr>
            <a:picLocks noChangeAspect="1"/>
          </p:cNvPicPr>
          <p:nvPr/>
        </p:nvPicPr>
        <p:blipFill>
          <a:blip r:embed="rId4"/>
          <a:stretch>
            <a:fillRect/>
          </a:stretch>
        </p:blipFill>
        <p:spPr>
          <a:xfrm>
            <a:off x="175300" y="4106544"/>
            <a:ext cx="3844433" cy="2308707"/>
          </a:xfrm>
          <a:prstGeom prst="rect">
            <a:avLst/>
          </a:prstGeom>
        </p:spPr>
      </p:pic>
      <p:pic>
        <p:nvPicPr>
          <p:cNvPr id="8" name="Picture 7">
            <a:extLst>
              <a:ext uri="{FF2B5EF4-FFF2-40B4-BE49-F238E27FC236}">
                <a16:creationId xmlns:a16="http://schemas.microsoft.com/office/drawing/2014/main" id="{506FA2A1-A78C-47CA-BB7B-E81FA47FDAD2}"/>
              </a:ext>
            </a:extLst>
          </p:cNvPr>
          <p:cNvPicPr>
            <a:picLocks noChangeAspect="1"/>
          </p:cNvPicPr>
          <p:nvPr/>
        </p:nvPicPr>
        <p:blipFill>
          <a:blip r:embed="rId5"/>
          <a:stretch>
            <a:fillRect/>
          </a:stretch>
        </p:blipFill>
        <p:spPr>
          <a:xfrm>
            <a:off x="4337940" y="4054151"/>
            <a:ext cx="4133290" cy="2482175"/>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interesting insights with Pump Efficiency and </a:t>
            </a:r>
            <a:r>
              <a:rPr lang="en-AU" sz="1400" b="1"/>
              <a:t>Volumetric Flow negatively </a:t>
            </a:r>
            <a:r>
              <a:rPr lang="en-AU" sz="1400" b="1" dirty="0"/>
              <a:t>correlated with Pump Failure in the Rolling Data, whilst they both then show a subsequently strong positive correlation in the Rolling </a:t>
            </a:r>
            <a:r>
              <a:rPr lang="en-AU" sz="1400" b="1" dirty="0" err="1"/>
              <a:t>Stdev</a:t>
            </a:r>
            <a:r>
              <a:rPr lang="en-AU" sz="1400" b="1" dirty="0"/>
              <a:t>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6B94AEC7-D5A8-D0F5-FC66-1778FD2F9307}"/>
              </a:ext>
            </a:extLst>
          </p:cNvPr>
          <p:cNvGraphicFramePr>
            <a:graphicFrameLocks/>
          </p:cNvGraphicFramePr>
          <p:nvPr>
            <p:extLst>
              <p:ext uri="{D42A27DB-BD31-4B8C-83A1-F6EECF244321}">
                <p14:modId xmlns:p14="http://schemas.microsoft.com/office/powerpoint/2010/main" val="3610887135"/>
              </p:ext>
            </p:extLst>
          </p:nvPr>
        </p:nvGraphicFramePr>
        <p:xfrm>
          <a:off x="-46433" y="1361328"/>
          <a:ext cx="2961894" cy="478343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F6EA8615-4EE6-4ACC-913D-326BA096D989}"/>
              </a:ext>
            </a:extLst>
          </p:cNvPr>
          <p:cNvGraphicFramePr>
            <a:graphicFrameLocks/>
          </p:cNvGraphicFramePr>
          <p:nvPr>
            <p:extLst>
              <p:ext uri="{D42A27DB-BD31-4B8C-83A1-F6EECF244321}">
                <p14:modId xmlns:p14="http://schemas.microsoft.com/office/powerpoint/2010/main" val="1722321904"/>
              </p:ext>
            </p:extLst>
          </p:nvPr>
        </p:nvGraphicFramePr>
        <p:xfrm>
          <a:off x="2910078" y="1361328"/>
          <a:ext cx="2961894" cy="5011360"/>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EE8BEA05-EDE4-A970-593B-7124193EF08D}"/>
              </a:ext>
            </a:extLst>
          </p:cNvPr>
          <p:cNvSpPr txBox="1"/>
          <p:nvPr/>
        </p:nvSpPr>
        <p:spPr>
          <a:xfrm rot="16200000">
            <a:off x="4850368" y="3629934"/>
            <a:ext cx="1722120" cy="246221"/>
          </a:xfrm>
          <a:prstGeom prst="rect">
            <a:avLst/>
          </a:prstGeom>
          <a:noFill/>
        </p:spPr>
        <p:txBody>
          <a:bodyPr wrap="square" rtlCol="0">
            <a:spAutoFit/>
          </a:bodyPr>
          <a:lstStyle/>
          <a:p>
            <a:pPr algn="ctr" rtl="0">
              <a:defRPr sz="1000" b="0" i="0" u="none" strike="noStrike" kern="1200" baseline="0">
                <a:solidFill>
                  <a:prstClr val="black">
                    <a:lumMod val="65000"/>
                    <a:lumOff val="35000"/>
                  </a:prstClr>
                </a:solidFill>
                <a:latin typeface="+mn-lt"/>
                <a:ea typeface="+mn-ea"/>
                <a:cs typeface="+mn-cs"/>
              </a:defRPr>
            </a:pPr>
            <a:r>
              <a:rPr lang="en-US" sz="1000" b="0" i="0" u="none" strike="noStrike" kern="1200" baseline="0" dirty="0">
                <a:solidFill>
                  <a:prstClr val="black">
                    <a:lumMod val="65000"/>
                    <a:lumOff val="35000"/>
                  </a:prstClr>
                </a:solidFill>
              </a:rPr>
              <a:t>Correlation Strength</a:t>
            </a:r>
          </a:p>
        </p:txBody>
      </p:sp>
      <p:graphicFrame>
        <p:nvGraphicFramePr>
          <p:cNvPr id="14" name="Chart 13">
            <a:extLst>
              <a:ext uri="{FF2B5EF4-FFF2-40B4-BE49-F238E27FC236}">
                <a16:creationId xmlns:a16="http://schemas.microsoft.com/office/drawing/2014/main" id="{FE2496B6-4518-D2D0-6C57-C6705C4B2184}"/>
              </a:ext>
            </a:extLst>
          </p:cNvPr>
          <p:cNvGraphicFramePr>
            <a:graphicFrameLocks/>
          </p:cNvGraphicFramePr>
          <p:nvPr>
            <p:extLst>
              <p:ext uri="{D42A27DB-BD31-4B8C-83A1-F6EECF244321}">
                <p14:modId xmlns:p14="http://schemas.microsoft.com/office/powerpoint/2010/main" val="2820823056"/>
              </p:ext>
            </p:extLst>
          </p:nvPr>
        </p:nvGraphicFramePr>
        <p:xfrm>
          <a:off x="5871972" y="1361328"/>
          <a:ext cx="2961894" cy="501136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normAutofit fontScale="90000"/>
          </a:bodyPr>
          <a:lstStyle/>
          <a:p>
            <a:r>
              <a:rPr lang="en-GB" sz="1400" b="1" dirty="0"/>
              <a:t>Lastly, analysis of the model fit reveals that with a R Squared of 0.77 a linear model is a good fit for the data with variables Horse Power, Pump Efficiency and Volumetric Flow Meter 1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11EA02E4-4717-A1B8-BDCE-E5609885E3B1}"/>
              </a:ext>
            </a:extLst>
          </p:cNvPr>
          <p:cNvGraphicFramePr>
            <a:graphicFrameLocks/>
          </p:cNvGraphicFramePr>
          <p:nvPr>
            <p:extLst>
              <p:ext uri="{D42A27DB-BD31-4B8C-83A1-F6EECF244321}">
                <p14:modId xmlns:p14="http://schemas.microsoft.com/office/powerpoint/2010/main" val="1045108984"/>
              </p:ext>
            </p:extLst>
          </p:nvPr>
        </p:nvGraphicFramePr>
        <p:xfrm>
          <a:off x="171450" y="1289634"/>
          <a:ext cx="8606789" cy="43308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169</TotalTime>
  <Words>300</Words>
  <Application>Microsoft Office PowerPoint</Application>
  <PresentationFormat>Custom</PresentationFormat>
  <Paragraphs>19</Paragraphs>
  <Slides>5</Slides>
  <Notes>0</Notes>
  <HiddenSlides>0</HiddenSlides>
  <MMClips>0</MMClips>
  <ScaleCrop>false</ScaleCrop>
  <HeadingPairs>
    <vt:vector size="4" baseType="variant">
      <vt:variant>
        <vt:lpstr>Theme</vt:lpstr>
      </vt:variant>
      <vt:variant>
        <vt:i4>1</vt:i4>
      </vt:variant>
      <vt:variant>
        <vt:lpstr>Slide Titles</vt:lpstr>
      </vt:variant>
      <vt:variant>
        <vt:i4>5</vt:i4>
      </vt:variant>
    </vt:vector>
  </HeadingPairs>
  <TitlesOfParts>
    <vt:vector size="6" baseType="lpstr">
      <vt:lpstr>Office Theme</vt:lpstr>
      <vt:lpstr>Descriptive and inferential statistical methodologies has proven effective in creating a proactive ‘alarm’, identifying Horse Power (R Value), Volumetric Flow Meter 1 (R Value) and Pump Efficiency (R Value) emerging as key variables of interest that have high correlations associated with  Pump Failure. </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box and whisker plots show a clear signature difference between that of normal behaviour and that of Failure with Pump Torque, Pump Speed Pump Efficiency showing the 3 largest variances.</vt:lpstr>
      <vt:lpstr>Correlation analyses across datasets yield interesting insights with Pump Efficiency and Volumetric Flow negatively correlated with Pump Failure in the Rolling Data, whilst they both then show a subsequently strong positive correlation in the Rolling Stdev  Dataset. </vt:lpstr>
      <vt:lpstr>Lastly, analysis of the model fit reveals that with a R Squared of 0.77 a linear model is a good fit for the data with variables Horse Power, Pump Efficiency and Volumetric Flow Meter 1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Gabriela Fernandez</cp:lastModifiedBy>
  <cp:revision>84</cp:revision>
  <dcterms:created xsi:type="dcterms:W3CDTF">2020-04-12T13:23:13Z</dcterms:created>
  <dcterms:modified xsi:type="dcterms:W3CDTF">2024-07-31T15:02:18Z</dcterms:modified>
</cp:coreProperties>
</file>